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5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6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7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16"/>
  </p:notesMasterIdLst>
  <p:handoutMasterIdLst>
    <p:handoutMasterId r:id="rId17"/>
  </p:handoutMasterIdLst>
  <p:sldIdLst>
    <p:sldId id="291" r:id="rId3"/>
    <p:sldId id="324" r:id="rId4"/>
    <p:sldId id="317" r:id="rId5"/>
    <p:sldId id="359" r:id="rId6"/>
    <p:sldId id="357" r:id="rId7"/>
    <p:sldId id="320" r:id="rId8"/>
    <p:sldId id="322" r:id="rId9"/>
    <p:sldId id="351" r:id="rId10"/>
    <p:sldId id="355" r:id="rId11"/>
    <p:sldId id="358" r:id="rId12"/>
    <p:sldId id="348" r:id="rId13"/>
    <p:sldId id="356" r:id="rId14"/>
    <p:sldId id="330" r:id="rId15"/>
  </p:sldIdLst>
  <p:sldSz cx="9906000" cy="6858000" type="A4"/>
  <p:notesSz cx="6808788" cy="9940925"/>
  <p:custDataLst>
    <p:tags r:id="rId1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454A3B9F-EA9F-4E01-A23C-2316FF7426CB}">
          <p14:sldIdLst>
            <p14:sldId id="291"/>
            <p14:sldId id="324"/>
            <p14:sldId id="317"/>
            <p14:sldId id="359"/>
            <p14:sldId id="357"/>
            <p14:sldId id="320"/>
            <p14:sldId id="322"/>
            <p14:sldId id="351"/>
            <p14:sldId id="355"/>
            <p14:sldId id="358"/>
            <p14:sldId id="348"/>
            <p14:sldId id="356"/>
            <p14:sldId id="3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Шестак Антон Александрович" initials="ШАА" lastIdx="7" clrIdx="0">
    <p:extLst>
      <p:ext uri="{19B8F6BF-5375-455C-9EA6-DF929625EA0E}">
        <p15:presenceInfo xmlns:p15="http://schemas.microsoft.com/office/powerpoint/2012/main" userId="S-1-5-21-1427493287-2892074134-283380318-144927" providerId="AD"/>
      </p:ext>
    </p:extLst>
  </p:cmAuthor>
  <p:cmAuthor id="2" name="Vadueva Larisa" initials="VL" lastIdx="2" clrIdx="1">
    <p:extLst>
      <p:ext uri="{19B8F6BF-5375-455C-9EA6-DF929625EA0E}">
        <p15:presenceInfo xmlns:p15="http://schemas.microsoft.com/office/powerpoint/2012/main" userId="S-1-5-21-1356431712-148694170-1921528658-96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9230"/>
    <a:srgbClr val="236CB0"/>
    <a:srgbClr val="D60500"/>
    <a:srgbClr val="E18E8B"/>
    <a:srgbClr val="14446C"/>
    <a:srgbClr val="CCDDED"/>
    <a:srgbClr val="F8CDA2"/>
    <a:srgbClr val="ECECEC"/>
    <a:srgbClr val="4095DC"/>
    <a:srgbClr val="B5CE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717" autoAdjust="0"/>
  </p:normalViewPr>
  <p:slideViewPr>
    <p:cSldViewPr snapToGrid="0">
      <p:cViewPr varScale="1">
        <p:scale>
          <a:sx n="108" d="100"/>
          <a:sy n="108" d="100"/>
        </p:scale>
        <p:origin x="1428" y="102"/>
      </p:cViewPr>
      <p:guideLst>
        <p:guide orient="horz" pos="2137"/>
        <p:guide pos="3120"/>
      </p:guideLst>
    </p:cSldViewPr>
  </p:slideViewPr>
  <p:outlineViewPr>
    <p:cViewPr>
      <p:scale>
        <a:sx n="33" d="100"/>
        <a:sy n="33" d="100"/>
      </p:scale>
      <p:origin x="0" y="-183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274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/период</c:v>
                </c:pt>
              </c:strCache>
            </c:strRef>
          </c:tx>
          <c:spPr>
            <a:solidFill>
              <a:srgbClr val="F0923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D605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9"/>
                <c:pt idx="0">
                  <c:v>Азота диоксид</c:v>
                </c:pt>
                <c:pt idx="1">
                  <c:v>Азота оксид</c:v>
                </c:pt>
                <c:pt idx="2">
                  <c:v>Сажа</c:v>
                </c:pt>
                <c:pt idx="3">
                  <c:v>Сера диоксид</c:v>
                </c:pt>
                <c:pt idx="4">
                  <c:v>Углерод оксид</c:v>
                </c:pt>
                <c:pt idx="5">
                  <c:v>Бензин</c:v>
                </c:pt>
                <c:pt idx="6">
                  <c:v>Керосин</c:v>
                </c:pt>
                <c:pt idx="7">
                  <c:v>Взвешенные вещества</c:v>
                </c:pt>
                <c:pt idx="8">
                  <c:v>Пыль неорганическая</c:v>
                </c:pt>
              </c:strCache>
            </c:strRef>
          </c:cat>
          <c:val>
            <c:numRef>
              <c:f>Лист1!$B$2:$B$20</c:f>
              <c:numCache>
                <c:formatCode>0.000</c:formatCode>
                <c:ptCount val="9"/>
                <c:pt idx="0">
                  <c:v>2.0063259000000002</c:v>
                </c:pt>
                <c:pt idx="1">
                  <c:v>0.32602779999999998</c:v>
                </c:pt>
                <c:pt idx="2">
                  <c:v>0.2828678</c:v>
                </c:pt>
                <c:pt idx="3">
                  <c:v>0.20756759999999999</c:v>
                </c:pt>
                <c:pt idx="4">
                  <c:v>2.0563364000000002</c:v>
                </c:pt>
                <c:pt idx="5">
                  <c:v>1.5965799999999999E-2</c:v>
                </c:pt>
                <c:pt idx="6">
                  <c:v>0.50371390000000005</c:v>
                </c:pt>
                <c:pt idx="7">
                  <c:v>1.65E-3</c:v>
                </c:pt>
                <c:pt idx="8">
                  <c:v>1.7748136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A9-475D-8F6B-6EDE9AB194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92831456"/>
        <c:axId val="692834080"/>
      </c:barChart>
      <c:catAx>
        <c:axId val="692831456"/>
        <c:scaling>
          <c:orientation val="minMax"/>
        </c:scaling>
        <c:delete val="0"/>
        <c:axPos val="b"/>
        <c:numFmt formatCode="@" sourceLinked="0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1" i="0" u="none" strike="noStrike" kern="1200" cap="none" spc="20" normalizeH="0" baseline="0">
                <a:solidFill>
                  <a:srgbClr val="14446C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92834080"/>
        <c:crosses val="autoZero"/>
        <c:auto val="1"/>
        <c:lblAlgn val="ctr"/>
        <c:lblOffset val="100"/>
        <c:noMultiLvlLbl val="0"/>
      </c:catAx>
      <c:valAx>
        <c:axId val="692834080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1" u="none" strike="noStrike" kern="1200" spc="20" baseline="0">
                <a:solidFill>
                  <a:srgbClr val="E18E8B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92831456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rgbClr val="D60500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D60500"/>
                </a:solidFill>
              </a:rPr>
              <a:t>Период строительства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rgbClr val="D605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, т/год</c:v>
                </c:pt>
              </c:strCache>
            </c:strRef>
          </c:tx>
          <c:spPr>
            <a:solidFill>
              <a:srgbClr val="236CB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98181490492131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49-4C96-B831-44918EB10852}"/>
                </c:ext>
              </c:extLst>
            </c:dLbl>
            <c:dLbl>
              <c:idx val="1"/>
              <c:layout>
                <c:manualLayout>
                  <c:x val="-2.2385451923937105E-2"/>
                  <c:y val="1.2232415902140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949-4C96-B831-44918EB10852}"/>
                </c:ext>
              </c:extLst>
            </c:dLbl>
            <c:dLbl>
              <c:idx val="2"/>
              <c:layout>
                <c:manualLayout>
                  <c:x val="-1.9587270433444923E-2"/>
                  <c:y val="1.2232415902140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949-4C96-B831-44918EB108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236CB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III класс</c:v>
                </c:pt>
                <c:pt idx="1">
                  <c:v>IV класс </c:v>
                </c:pt>
                <c:pt idx="2">
                  <c:v>V класс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0.1</c:v>
                </c:pt>
                <c:pt idx="1">
                  <c:v>9037.009</c:v>
                </c:pt>
                <c:pt idx="2">
                  <c:v>55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949-4C96-B831-44918EB1085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Утилизация</c:v>
                </c:pt>
              </c:strCache>
            </c:strRef>
          </c:tx>
          <c:spPr>
            <a:solidFill>
              <a:srgbClr val="F09230"/>
            </a:solidFill>
            <a:ln>
              <a:solidFill>
                <a:srgbClr val="236CB0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0"/>
                  <c:y val="6.116207951070336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949-4C96-B831-44918EB10852}"/>
                </c:ext>
              </c:extLst>
            </c:dLbl>
            <c:dLbl>
              <c:idx val="2"/>
              <c:layout>
                <c:manualLayout>
                  <c:x val="3.6376359376397716E-2"/>
                  <c:y val="1.2232415902140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949-4C96-B831-44918EB108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F0923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III класс</c:v>
                </c:pt>
                <c:pt idx="1">
                  <c:v>IV класс </c:v>
                </c:pt>
                <c:pt idx="2">
                  <c:v>V класс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0.1</c:v>
                </c:pt>
                <c:pt idx="1">
                  <c:v>40.761000000000003</c:v>
                </c:pt>
                <c:pt idx="2">
                  <c:v>55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949-4C96-B831-44918EB1085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азмещение</c:v>
                </c:pt>
              </c:strCache>
            </c:strRef>
          </c:tx>
          <c:spPr>
            <a:solidFill>
              <a:srgbClr val="E18E8B"/>
            </a:solidFill>
            <a:ln>
              <a:solidFill>
                <a:srgbClr val="236CB0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949-4C96-B831-44918EB10852}"/>
                </c:ext>
              </c:extLst>
            </c:dLbl>
            <c:dLbl>
              <c:idx val="1"/>
              <c:layout>
                <c:manualLayout>
                  <c:x val="1.9587270433444871E-2"/>
                  <c:y val="1.223241590214061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E18E8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949-4C96-B831-44918EB1085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949-4C96-B831-44918EB108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III класс</c:v>
                </c:pt>
                <c:pt idx="1">
                  <c:v>IV класс </c:v>
                </c:pt>
                <c:pt idx="2">
                  <c:v>V класс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0</c:v>
                </c:pt>
                <c:pt idx="1">
                  <c:v>8996.2479999999996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949-4C96-B831-44918EB108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1293912"/>
        <c:axId val="471294568"/>
      </c:barChart>
      <c:catAx>
        <c:axId val="471293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294568"/>
        <c:crosses val="autoZero"/>
        <c:auto val="1"/>
        <c:lblAlgn val="ctr"/>
        <c:lblOffset val="100"/>
        <c:noMultiLvlLbl val="0"/>
      </c:catAx>
      <c:valAx>
        <c:axId val="471294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1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293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rgbClr val="D60500"/>
                </a:solidFill>
                <a:latin typeface="+mn-lt"/>
                <a:ea typeface="+mn-ea"/>
                <a:cs typeface="+mn-cs"/>
              </a:defRPr>
            </a:pPr>
            <a:r>
              <a:rPr lang="ru-RU" b="1" dirty="0">
                <a:solidFill>
                  <a:srgbClr val="D60500"/>
                </a:solidFill>
              </a:rPr>
              <a:t>Период эксплуатации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rgbClr val="D605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, т/год</c:v>
                </c:pt>
              </c:strCache>
            </c:strRef>
          </c:tx>
          <c:spPr>
            <a:solidFill>
              <a:srgbClr val="236CB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98181490492131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35-47AE-8842-3A78AD0A869C}"/>
                </c:ext>
              </c:extLst>
            </c:dLbl>
            <c:dLbl>
              <c:idx val="1"/>
              <c:layout>
                <c:manualLayout>
                  <c:x val="-5.1299401377293492E-17"/>
                  <c:y val="1.2232415902140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35-47AE-8842-3A78AD0A869C}"/>
                </c:ext>
              </c:extLst>
            </c:dLbl>
            <c:dLbl>
              <c:idx val="2"/>
              <c:layout>
                <c:manualLayout>
                  <c:x val="-1.9587270433444923E-2"/>
                  <c:y val="1.2232415902140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35-47AE-8842-3A78AD0A86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236CB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III класс</c:v>
                </c:pt>
                <c:pt idx="1">
                  <c:v>IV класс </c:v>
                </c:pt>
                <c:pt idx="2">
                  <c:v>V класс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0.115</c:v>
                </c:pt>
                <c:pt idx="1">
                  <c:v>13.141999999999999</c:v>
                </c:pt>
                <c:pt idx="2">
                  <c:v>13.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235-47AE-8842-3A78AD0A869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Утилизация</c:v>
                </c:pt>
              </c:strCache>
            </c:strRef>
          </c:tx>
          <c:spPr>
            <a:solidFill>
              <a:srgbClr val="F09230"/>
            </a:solidFill>
            <a:ln>
              <a:solidFill>
                <a:srgbClr val="236CB0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1.1192725961968528E-2"/>
                  <c:y val="-5.6064591888528414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235-47AE-8842-3A78AD0A869C}"/>
                </c:ext>
              </c:extLst>
            </c:dLbl>
            <c:dLbl>
              <c:idx val="2"/>
              <c:layout>
                <c:manualLayout>
                  <c:x val="3.6376359376397716E-2"/>
                  <c:y val="1.22324159021406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235-47AE-8842-3A78AD0A86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F0923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III класс</c:v>
                </c:pt>
                <c:pt idx="1">
                  <c:v>IV класс </c:v>
                </c:pt>
                <c:pt idx="2">
                  <c:v>V класс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0.115</c:v>
                </c:pt>
                <c:pt idx="1">
                  <c:v>7.8620000000000001</c:v>
                </c:pt>
                <c:pt idx="2">
                  <c:v>13.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235-47AE-8842-3A78AD0A869C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азмещение</c:v>
                </c:pt>
              </c:strCache>
            </c:strRef>
          </c:tx>
          <c:spPr>
            <a:solidFill>
              <a:srgbClr val="E18E8B"/>
            </a:solidFill>
            <a:ln>
              <a:solidFill>
                <a:srgbClr val="236CB0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235-47AE-8842-3A78AD0A869C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rgbClr val="E18E8B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E235-47AE-8842-3A78AD0A869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235-47AE-8842-3A78AD0A86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3"/>
                <c:pt idx="0">
                  <c:v>III класс</c:v>
                </c:pt>
                <c:pt idx="1">
                  <c:v>IV класс </c:v>
                </c:pt>
                <c:pt idx="2">
                  <c:v>V класс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0</c:v>
                </c:pt>
                <c:pt idx="1">
                  <c:v>5.28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235-47AE-8842-3A78AD0A86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71293912"/>
        <c:axId val="471294568"/>
      </c:barChart>
      <c:catAx>
        <c:axId val="471293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294568"/>
        <c:crosses val="autoZero"/>
        <c:auto val="1"/>
        <c:lblAlgn val="ctr"/>
        <c:lblOffset val="100"/>
        <c:noMultiLvlLbl val="0"/>
      </c:catAx>
      <c:valAx>
        <c:axId val="4712945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1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71293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mailto:gorod@berezniki.perm.ru" TargetMode="External"/></Relationships>
</file>

<file path=ppt/diagrams/_rels/data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image" Target="../media/image14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mailto:gorod@berezniki.perm.ru" TargetMode="External"/></Relationships>
</file>

<file path=ppt/diagrams/_rels/drawing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svg"/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37EC36-CE76-4397-A1A8-FD591B19CE8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1DB193E-CA65-4720-A63C-DF7C2971F211}">
      <dgm:prSet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2000" b="1" dirty="0">
              <a:solidFill>
                <a:srgbClr val="14446C"/>
              </a:solidFill>
            </a:rPr>
            <a:t>Организатор общественного обсуждения</a:t>
          </a:r>
          <a:endParaRPr lang="ru-RU" sz="2000" dirty="0">
            <a:solidFill>
              <a:srgbClr val="14446C"/>
            </a:solidFill>
          </a:endParaRPr>
        </a:p>
      </dgm:t>
    </dgm:pt>
    <dgm:pt modelId="{9BD5B3B1-8B29-4913-BA76-0FF3D2B2D350}" type="parTrans" cxnId="{C4506F66-58F5-464F-8150-B1E8B6DBBF89}">
      <dgm:prSet/>
      <dgm:spPr/>
      <dgm:t>
        <a:bodyPr/>
        <a:lstStyle/>
        <a:p>
          <a:endParaRPr lang="ru-RU" sz="1400"/>
        </a:p>
      </dgm:t>
    </dgm:pt>
    <dgm:pt modelId="{5ADA5A26-9C40-40AF-BAB4-F2529CB83072}" type="sibTrans" cxnId="{C4506F66-58F5-464F-8150-B1E8B6DBBF89}">
      <dgm:prSet/>
      <dgm:spPr/>
      <dgm:t>
        <a:bodyPr/>
        <a:lstStyle/>
        <a:p>
          <a:endParaRPr lang="ru-RU" sz="1400"/>
        </a:p>
      </dgm:t>
    </dgm:pt>
    <dgm:pt modelId="{6115E8E9-2163-476C-8615-18C98781825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200" b="1" dirty="0"/>
            <a:t>Администрация города Березники </a:t>
          </a:r>
          <a:endParaRPr lang="ru-RU" sz="1200" dirty="0"/>
        </a:p>
      </dgm:t>
    </dgm:pt>
    <dgm:pt modelId="{1A421A49-CA7C-4A4D-A3B7-8EAD527B2EA1}" type="parTrans" cxnId="{739F8358-6D92-4DC1-BD77-3ECAB22D8EA1}">
      <dgm:prSet/>
      <dgm:spPr/>
      <dgm:t>
        <a:bodyPr/>
        <a:lstStyle/>
        <a:p>
          <a:endParaRPr lang="ru-RU" sz="1400"/>
        </a:p>
      </dgm:t>
    </dgm:pt>
    <dgm:pt modelId="{12E5880A-B315-47F6-8D15-0A328FA5FFC5}" type="sibTrans" cxnId="{739F8358-6D92-4DC1-BD77-3ECAB22D8EA1}">
      <dgm:prSet/>
      <dgm:spPr/>
      <dgm:t>
        <a:bodyPr/>
        <a:lstStyle/>
        <a:p>
          <a:endParaRPr lang="ru-RU" sz="1400"/>
        </a:p>
      </dgm:t>
    </dgm:pt>
    <dgm:pt modelId="{519D2E33-348E-4750-A1F6-2D89F2BC8E8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юридический/фактический адрес: 618417, Пермский край, г. Березники,  Советская площадь, д. 1, </a:t>
          </a:r>
          <a:endParaRPr lang="ru-RU" sz="1100" dirty="0"/>
        </a:p>
      </dgm:t>
    </dgm:pt>
    <dgm:pt modelId="{7A3BFC20-BF7B-42E5-AFE3-50DFC5FBC2DA}" type="parTrans" cxnId="{8A6D9BE6-6CAF-40B1-81E5-61F4716EBB22}">
      <dgm:prSet/>
      <dgm:spPr/>
      <dgm:t>
        <a:bodyPr/>
        <a:lstStyle/>
        <a:p>
          <a:endParaRPr lang="ru-RU" sz="1400"/>
        </a:p>
      </dgm:t>
    </dgm:pt>
    <dgm:pt modelId="{CF64D8EB-F2FA-4631-BEE7-BC4DF1780493}" type="sibTrans" cxnId="{8A6D9BE6-6CAF-40B1-81E5-61F4716EBB22}">
      <dgm:prSet/>
      <dgm:spPr/>
      <dgm:t>
        <a:bodyPr/>
        <a:lstStyle/>
        <a:p>
          <a:endParaRPr lang="ru-RU" sz="1400"/>
        </a:p>
      </dgm:t>
    </dgm:pt>
    <dgm:pt modelId="{E4A7F489-7E3B-4B76-A454-6EE57E0EE27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тел. (3424) 26-21-15, факс (3424) 26-44-62, </a:t>
          </a:r>
          <a:endParaRPr lang="ru-RU" sz="1100" dirty="0"/>
        </a:p>
      </dgm:t>
    </dgm:pt>
    <dgm:pt modelId="{E5DD78C3-2382-4170-A77D-71ECE97458F2}" type="parTrans" cxnId="{A48C29F4-3313-4069-86BB-F1FFB75F511E}">
      <dgm:prSet/>
      <dgm:spPr/>
      <dgm:t>
        <a:bodyPr/>
        <a:lstStyle/>
        <a:p>
          <a:endParaRPr lang="ru-RU" sz="1400"/>
        </a:p>
      </dgm:t>
    </dgm:pt>
    <dgm:pt modelId="{A0A7A8A6-EF27-431E-A26F-DFA61B6E36E9}" type="sibTrans" cxnId="{A48C29F4-3313-4069-86BB-F1FFB75F511E}">
      <dgm:prSet/>
      <dgm:spPr/>
      <dgm:t>
        <a:bodyPr/>
        <a:lstStyle/>
        <a:p>
          <a:endParaRPr lang="ru-RU" sz="1400"/>
        </a:p>
      </dgm:t>
    </dgm:pt>
    <dgm:pt modelId="{E172DC74-E51E-4CED-B7E8-76821FD1DF3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е-</a:t>
          </a:r>
          <a:r>
            <a:rPr lang="ru-RU" sz="1100" b="0" dirty="0" err="1"/>
            <a:t>mail</a:t>
          </a:r>
          <a:r>
            <a:rPr lang="ru-RU" sz="1100" b="0" dirty="0"/>
            <a:t>:  </a:t>
          </a:r>
          <a:r>
            <a:rPr lang="ru-RU" sz="1100" b="0" dirty="0">
              <a:hlinkClick xmlns:r="http://schemas.openxmlformats.org/officeDocument/2006/relationships" r:id="rId1"/>
            </a:rPr>
            <a:t>gorod@berezniki.perm.ru</a:t>
          </a:r>
          <a:endParaRPr lang="ru-RU" sz="1100" dirty="0"/>
        </a:p>
      </dgm:t>
    </dgm:pt>
    <dgm:pt modelId="{2A5B36B4-C80D-40F1-ABAF-5A881C8B0B02}" type="parTrans" cxnId="{D2E5FEB9-08C4-46A9-B026-409FC2AD0C51}">
      <dgm:prSet/>
      <dgm:spPr/>
      <dgm:t>
        <a:bodyPr/>
        <a:lstStyle/>
        <a:p>
          <a:endParaRPr lang="ru-RU" sz="1400"/>
        </a:p>
      </dgm:t>
    </dgm:pt>
    <dgm:pt modelId="{79A2A53C-2BD6-430F-BFAD-562BBD8B226E}" type="sibTrans" cxnId="{D2E5FEB9-08C4-46A9-B026-409FC2AD0C51}">
      <dgm:prSet/>
      <dgm:spPr/>
      <dgm:t>
        <a:bodyPr/>
        <a:lstStyle/>
        <a:p>
          <a:endParaRPr lang="ru-RU" sz="1400"/>
        </a:p>
      </dgm:t>
    </dgm:pt>
    <dgm:pt modelId="{FD246B69-934E-4B06-9583-33044A32A5EB}">
      <dgm:prSet custT="1"/>
      <dgm:spPr>
        <a:noFill/>
        <a:ln>
          <a:noFill/>
        </a:ln>
      </dgm:spPr>
      <dgm:t>
        <a:bodyPr/>
        <a:lstStyle/>
        <a:p>
          <a:pPr algn="l">
            <a:lnSpc>
              <a:spcPct val="100000"/>
            </a:lnSpc>
          </a:pPr>
          <a:r>
            <a:rPr lang="ru-RU" sz="2000" b="1" dirty="0">
              <a:solidFill>
                <a:srgbClr val="14446C"/>
              </a:solidFill>
            </a:rPr>
            <a:t>Инициатор (заказчик) </a:t>
          </a:r>
          <a:endParaRPr lang="ru-RU" sz="2000" dirty="0">
            <a:solidFill>
              <a:srgbClr val="14446C"/>
            </a:solidFill>
          </a:endParaRPr>
        </a:p>
      </dgm:t>
    </dgm:pt>
    <dgm:pt modelId="{F0F6E752-57DB-4065-A63E-7DD1D883DC3A}" type="parTrans" cxnId="{5958028B-BBDC-4F40-A902-AD077741F8DA}">
      <dgm:prSet/>
      <dgm:spPr/>
      <dgm:t>
        <a:bodyPr/>
        <a:lstStyle/>
        <a:p>
          <a:endParaRPr lang="ru-RU" sz="1400"/>
        </a:p>
      </dgm:t>
    </dgm:pt>
    <dgm:pt modelId="{02C20CDC-A702-4C47-89FA-99D402DA7A8A}" type="sibTrans" cxnId="{5958028B-BBDC-4F40-A902-AD077741F8DA}">
      <dgm:prSet/>
      <dgm:spPr/>
      <dgm:t>
        <a:bodyPr/>
        <a:lstStyle/>
        <a:p>
          <a:endParaRPr lang="ru-RU" sz="1400"/>
        </a:p>
      </dgm:t>
    </dgm:pt>
    <dgm:pt modelId="{03871130-E81E-4387-9370-A6DFACCA18B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200" b="1" dirty="0"/>
            <a:t>Филиал «Азот» АО «ОХК «УРАЛХИМ» в г. Березники</a:t>
          </a:r>
          <a:endParaRPr lang="ru-RU" sz="1200" dirty="0"/>
        </a:p>
      </dgm:t>
    </dgm:pt>
    <dgm:pt modelId="{2F2E9CB3-8B3F-4A61-BA4F-4C76AB296048}" type="parTrans" cxnId="{B7441BD7-7C7C-4BB2-8C00-F325AA8CCB9F}">
      <dgm:prSet/>
      <dgm:spPr/>
      <dgm:t>
        <a:bodyPr/>
        <a:lstStyle/>
        <a:p>
          <a:endParaRPr lang="ru-RU" sz="1400"/>
        </a:p>
      </dgm:t>
    </dgm:pt>
    <dgm:pt modelId="{B436E813-D8C7-4F87-975A-65101EC90DD4}" type="sibTrans" cxnId="{B7441BD7-7C7C-4BB2-8C00-F325AA8CCB9F}">
      <dgm:prSet/>
      <dgm:spPr/>
      <dgm:t>
        <a:bodyPr/>
        <a:lstStyle/>
        <a:p>
          <a:endParaRPr lang="ru-RU" sz="1400"/>
        </a:p>
      </dgm:t>
    </dgm:pt>
    <dgm:pt modelId="{81E20291-E30B-4A26-B785-94B6F8BCBAA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ИНН 7703647595 ОГРН 1077761874024</a:t>
          </a:r>
          <a:endParaRPr lang="ru-RU" sz="1100" dirty="0"/>
        </a:p>
      </dgm:t>
    </dgm:pt>
    <dgm:pt modelId="{6BC5754D-158B-4DE9-8101-634FF40D709D}" type="parTrans" cxnId="{02F708BD-4046-4404-A36F-A89CC1ED33BA}">
      <dgm:prSet/>
      <dgm:spPr/>
      <dgm:t>
        <a:bodyPr/>
        <a:lstStyle/>
        <a:p>
          <a:endParaRPr lang="ru-RU" sz="1400"/>
        </a:p>
      </dgm:t>
    </dgm:pt>
    <dgm:pt modelId="{2E47A4B6-B6E8-4BB4-8C6D-F69C1E64FEDB}" type="sibTrans" cxnId="{02F708BD-4046-4404-A36F-A89CC1ED33BA}">
      <dgm:prSet/>
      <dgm:spPr/>
      <dgm:t>
        <a:bodyPr/>
        <a:lstStyle/>
        <a:p>
          <a:endParaRPr lang="ru-RU" sz="1400"/>
        </a:p>
      </dgm:t>
    </dgm:pt>
    <dgm:pt modelId="{E8B78DB7-8925-438F-AACE-2D2986CC532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Юридический адрес: 123112, Россия, г. Москва, наб. Пресненская, д.6, строен. 2</a:t>
          </a:r>
          <a:endParaRPr lang="ru-RU" sz="1100" dirty="0"/>
        </a:p>
      </dgm:t>
    </dgm:pt>
    <dgm:pt modelId="{1AEEA38E-E7DE-4962-9AC0-B7BE62FF38ED}" type="parTrans" cxnId="{7B1C5CAD-2BA5-4DC5-A843-082BE72D8E2A}">
      <dgm:prSet/>
      <dgm:spPr/>
      <dgm:t>
        <a:bodyPr/>
        <a:lstStyle/>
        <a:p>
          <a:endParaRPr lang="ru-RU" sz="1400"/>
        </a:p>
      </dgm:t>
    </dgm:pt>
    <dgm:pt modelId="{64D0B5BC-FD4B-4156-9BE2-2FD7B7727C74}" type="sibTrans" cxnId="{7B1C5CAD-2BA5-4DC5-A843-082BE72D8E2A}">
      <dgm:prSet/>
      <dgm:spPr/>
      <dgm:t>
        <a:bodyPr/>
        <a:lstStyle/>
        <a:p>
          <a:endParaRPr lang="ru-RU" sz="1400"/>
        </a:p>
      </dgm:t>
    </dgm:pt>
    <dgm:pt modelId="{FFBCBE51-BEAB-4C03-AA5F-1D403D77088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тел. (3424) 29-89-90, факс: (3424) 29-82-09</a:t>
          </a:r>
          <a:endParaRPr lang="ru-RU" sz="1100" dirty="0"/>
        </a:p>
      </dgm:t>
    </dgm:pt>
    <dgm:pt modelId="{503F1625-75F6-4CE8-9951-8DCC295294F3}" type="parTrans" cxnId="{231891B4-3412-47D0-ABE6-3148383EA7F4}">
      <dgm:prSet/>
      <dgm:spPr/>
      <dgm:t>
        <a:bodyPr/>
        <a:lstStyle/>
        <a:p>
          <a:endParaRPr lang="ru-RU" sz="1400"/>
        </a:p>
      </dgm:t>
    </dgm:pt>
    <dgm:pt modelId="{CFD179B4-313E-4E75-AB1E-56893D967DBE}" type="sibTrans" cxnId="{231891B4-3412-47D0-ABE6-3148383EA7F4}">
      <dgm:prSet/>
      <dgm:spPr/>
      <dgm:t>
        <a:bodyPr/>
        <a:lstStyle/>
        <a:p>
          <a:endParaRPr lang="ru-RU" sz="1400"/>
        </a:p>
      </dgm:t>
    </dgm:pt>
    <dgm:pt modelId="{1663474A-0D01-4565-93B4-34498ACE64E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е-</a:t>
          </a:r>
          <a:r>
            <a:rPr lang="en-US" sz="1100" b="0" dirty="0"/>
            <a:t>mail: azot@uralchem.com</a:t>
          </a:r>
          <a:endParaRPr lang="ru-RU" sz="1100" dirty="0"/>
        </a:p>
      </dgm:t>
    </dgm:pt>
    <dgm:pt modelId="{C6DF0DB2-787E-4C45-AC88-78EAAE6F6938}" type="parTrans" cxnId="{E65A593F-FF1F-4E8E-93CD-07909F423B04}">
      <dgm:prSet/>
      <dgm:spPr/>
      <dgm:t>
        <a:bodyPr/>
        <a:lstStyle/>
        <a:p>
          <a:endParaRPr lang="ru-RU" sz="1400"/>
        </a:p>
      </dgm:t>
    </dgm:pt>
    <dgm:pt modelId="{C7B7EFBC-40CB-41BD-B7B8-E77AD931293A}" type="sibTrans" cxnId="{E65A593F-FF1F-4E8E-93CD-07909F423B04}">
      <dgm:prSet/>
      <dgm:spPr/>
      <dgm:t>
        <a:bodyPr/>
        <a:lstStyle/>
        <a:p>
          <a:endParaRPr lang="ru-RU" sz="1400"/>
        </a:p>
      </dgm:t>
    </dgm:pt>
    <dgm:pt modelId="{8C306CE3-7C8D-4AF9-A273-B47AE71F7B3F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ru-RU" sz="2000" b="1" dirty="0">
              <a:solidFill>
                <a:srgbClr val="14446C"/>
              </a:solidFill>
            </a:rPr>
            <a:t>Исполнитель ОВОС</a:t>
          </a:r>
          <a:endParaRPr lang="ru-RU" sz="2000" dirty="0">
            <a:solidFill>
              <a:srgbClr val="14446C"/>
            </a:solidFill>
          </a:endParaRPr>
        </a:p>
      </dgm:t>
    </dgm:pt>
    <dgm:pt modelId="{403E43F0-7FAF-4F62-A4D9-3057E663FD2B}" type="parTrans" cxnId="{0FB8E94E-5E46-46F1-A492-E89FEA6F2C36}">
      <dgm:prSet/>
      <dgm:spPr/>
      <dgm:t>
        <a:bodyPr/>
        <a:lstStyle/>
        <a:p>
          <a:endParaRPr lang="ru-RU" sz="1400"/>
        </a:p>
      </dgm:t>
    </dgm:pt>
    <dgm:pt modelId="{05436D6F-7544-4BB3-BF4D-791CDCC894D5}" type="sibTrans" cxnId="{0FB8E94E-5E46-46F1-A492-E89FEA6F2C36}">
      <dgm:prSet/>
      <dgm:spPr/>
      <dgm:t>
        <a:bodyPr/>
        <a:lstStyle/>
        <a:p>
          <a:endParaRPr lang="ru-RU" sz="1400"/>
        </a:p>
      </dgm:t>
    </dgm:pt>
    <dgm:pt modelId="{CA0DD131-24D4-484E-ADFD-855ED5680B8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200" b="1" dirty="0"/>
            <a:t>ООО «</a:t>
          </a:r>
          <a:r>
            <a:rPr lang="ru-RU" sz="1200" b="1" dirty="0" err="1"/>
            <a:t>Кайрос</a:t>
          </a:r>
          <a:r>
            <a:rPr lang="ru-RU" sz="1200" b="1" dirty="0"/>
            <a:t>-Инжиниринг» (г. Пермь)</a:t>
          </a:r>
          <a:r>
            <a:rPr lang="en-US" sz="1200" b="1" dirty="0"/>
            <a:t> </a:t>
          </a:r>
          <a:endParaRPr lang="ru-RU" sz="1200" dirty="0"/>
        </a:p>
      </dgm:t>
    </dgm:pt>
    <dgm:pt modelId="{B43F6D96-D322-4EF3-B304-CAF9BD2A6559}" type="parTrans" cxnId="{D53E8428-AC23-419D-8748-292773DBFCF3}">
      <dgm:prSet/>
      <dgm:spPr/>
      <dgm:t>
        <a:bodyPr/>
        <a:lstStyle/>
        <a:p>
          <a:endParaRPr lang="ru-RU" sz="1400"/>
        </a:p>
      </dgm:t>
    </dgm:pt>
    <dgm:pt modelId="{5FBEE1CE-7344-42A2-9774-A71DCAA55A80}" type="sibTrans" cxnId="{D53E8428-AC23-419D-8748-292773DBFCF3}">
      <dgm:prSet/>
      <dgm:spPr/>
      <dgm:t>
        <a:bodyPr/>
        <a:lstStyle/>
        <a:p>
          <a:endParaRPr lang="ru-RU" sz="1400"/>
        </a:p>
      </dgm:t>
    </dgm:pt>
    <dgm:pt modelId="{149C91DB-88C3-4B2E-A2B2-33DDF36BEC90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ИНН 5902179267 ОГРН 1115902009508</a:t>
          </a:r>
          <a:endParaRPr lang="ru-RU" sz="1100" dirty="0"/>
        </a:p>
      </dgm:t>
    </dgm:pt>
    <dgm:pt modelId="{FB9048FA-FD75-4D9D-BE1E-EB062E8C31A6}" type="parTrans" cxnId="{CB03DF27-11C4-4AD3-8FAA-BBC472FDBB0D}">
      <dgm:prSet/>
      <dgm:spPr/>
      <dgm:t>
        <a:bodyPr/>
        <a:lstStyle/>
        <a:p>
          <a:endParaRPr lang="ru-RU" sz="1400"/>
        </a:p>
      </dgm:t>
    </dgm:pt>
    <dgm:pt modelId="{3B53F4ED-1D92-46FB-9473-03D357F7B272}" type="sibTrans" cxnId="{CB03DF27-11C4-4AD3-8FAA-BBC472FDBB0D}">
      <dgm:prSet/>
      <dgm:spPr/>
      <dgm:t>
        <a:bodyPr/>
        <a:lstStyle/>
        <a:p>
          <a:endParaRPr lang="ru-RU" sz="1400"/>
        </a:p>
      </dgm:t>
    </dgm:pt>
    <dgm:pt modelId="{A68A7B02-4DAD-46FA-BDB6-9D1385693DBB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г. Пермь, ул. Максима Горького, 34, оф. 201</a:t>
          </a:r>
          <a:r>
            <a:rPr lang="en-US" sz="1100" b="0" dirty="0"/>
            <a:t>/3</a:t>
          </a:r>
          <a:r>
            <a:rPr lang="ru-RU" sz="1100" b="0" dirty="0"/>
            <a:t> </a:t>
          </a:r>
          <a:endParaRPr lang="ru-RU" sz="1100" dirty="0"/>
        </a:p>
      </dgm:t>
    </dgm:pt>
    <dgm:pt modelId="{5DA0A870-3B81-49C9-AA70-89592FFB2B98}" type="parTrans" cxnId="{71911939-643C-4F38-A2FB-40B80062C1D7}">
      <dgm:prSet/>
      <dgm:spPr/>
      <dgm:t>
        <a:bodyPr/>
        <a:lstStyle/>
        <a:p>
          <a:endParaRPr lang="ru-RU" sz="1400"/>
        </a:p>
      </dgm:t>
    </dgm:pt>
    <dgm:pt modelId="{047A9F84-6086-44F8-9D3D-EB37CF2919B2}" type="sibTrans" cxnId="{71911939-643C-4F38-A2FB-40B80062C1D7}">
      <dgm:prSet/>
      <dgm:spPr/>
      <dgm:t>
        <a:bodyPr/>
        <a:lstStyle/>
        <a:p>
          <a:endParaRPr lang="ru-RU" sz="1400"/>
        </a:p>
      </dgm:t>
    </dgm:pt>
    <dgm:pt modelId="{6A6C7815-3861-4AE3-B63C-744CD90F363C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тел.</a:t>
          </a:r>
          <a:r>
            <a:rPr lang="en-US" sz="1100" b="0" dirty="0"/>
            <a:t> 8 (342) 299-99-41</a:t>
          </a:r>
          <a:endParaRPr lang="ru-RU" sz="1100" dirty="0"/>
        </a:p>
      </dgm:t>
    </dgm:pt>
    <dgm:pt modelId="{BA66DB02-78FD-42C8-BC62-E3FCAACD4F32}" type="parTrans" cxnId="{CF00090A-F3C0-44E7-805E-ACA2B225EEC0}">
      <dgm:prSet/>
      <dgm:spPr/>
      <dgm:t>
        <a:bodyPr/>
        <a:lstStyle/>
        <a:p>
          <a:endParaRPr lang="ru-RU" sz="1400"/>
        </a:p>
      </dgm:t>
    </dgm:pt>
    <dgm:pt modelId="{828092A1-35DE-4BE2-A1C5-80204BBDEA12}" type="sibTrans" cxnId="{CF00090A-F3C0-44E7-805E-ACA2B225EEC0}">
      <dgm:prSet/>
      <dgm:spPr/>
      <dgm:t>
        <a:bodyPr/>
        <a:lstStyle/>
        <a:p>
          <a:endParaRPr lang="ru-RU" sz="1400"/>
        </a:p>
      </dgm:t>
    </dgm:pt>
    <dgm:pt modelId="{B199DEC7-6BCE-42BE-A70C-0E09B0F2054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100" b="0" dirty="0"/>
            <a:t>e-mail</a:t>
          </a:r>
          <a:r>
            <a:rPr lang="ru-RU" sz="1100" b="0" dirty="0"/>
            <a:t>:</a:t>
          </a:r>
          <a:r>
            <a:rPr lang="en-US" sz="1100" b="0" dirty="0"/>
            <a:t> perm@kairoseng.ru</a:t>
          </a:r>
          <a:endParaRPr lang="ru-RU" sz="1100" dirty="0"/>
        </a:p>
      </dgm:t>
    </dgm:pt>
    <dgm:pt modelId="{9533AD61-2A10-49A6-BD13-102F7A6DBA31}" type="parTrans" cxnId="{2940D591-E9D6-4F5A-B51E-087795644C40}">
      <dgm:prSet/>
      <dgm:spPr/>
      <dgm:t>
        <a:bodyPr/>
        <a:lstStyle/>
        <a:p>
          <a:endParaRPr lang="ru-RU" sz="1400"/>
        </a:p>
      </dgm:t>
    </dgm:pt>
    <dgm:pt modelId="{51B64EF2-5450-4C5B-AF29-621DCECD25CD}" type="sibTrans" cxnId="{2940D591-E9D6-4F5A-B51E-087795644C40}">
      <dgm:prSet/>
      <dgm:spPr/>
      <dgm:t>
        <a:bodyPr/>
        <a:lstStyle/>
        <a:p>
          <a:endParaRPr lang="ru-RU" sz="1400"/>
        </a:p>
      </dgm:t>
    </dgm:pt>
    <dgm:pt modelId="{3ECD24B0-C8CF-4E07-B629-DE30AD72592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b="0" dirty="0"/>
            <a:t>Фактический адрес: 618401, Россия,  Пермский край, г. Березники, </a:t>
          </a:r>
          <a:r>
            <a:rPr lang="ru-RU" sz="1100" b="0" dirty="0" err="1"/>
            <a:t>Чуртанское</a:t>
          </a:r>
          <a:r>
            <a:rPr lang="ru-RU" sz="1100" b="0" dirty="0"/>
            <a:t> шоссе, 75, </a:t>
          </a:r>
          <a:endParaRPr lang="ru-RU" sz="1100" dirty="0"/>
        </a:p>
      </dgm:t>
    </dgm:pt>
    <dgm:pt modelId="{E9400486-E2DA-4925-86CF-22B102DAD516}" type="parTrans" cxnId="{9C2F6415-725A-4CF6-9484-6D0E9B81FA21}">
      <dgm:prSet/>
      <dgm:spPr/>
      <dgm:t>
        <a:bodyPr/>
        <a:lstStyle/>
        <a:p>
          <a:endParaRPr lang="ru-RU"/>
        </a:p>
      </dgm:t>
    </dgm:pt>
    <dgm:pt modelId="{73671D7E-42E2-405D-9BB6-2E99E479C329}" type="sibTrans" cxnId="{9C2F6415-725A-4CF6-9484-6D0E9B81FA21}">
      <dgm:prSet/>
      <dgm:spPr/>
      <dgm:t>
        <a:bodyPr/>
        <a:lstStyle/>
        <a:p>
          <a:endParaRPr lang="ru-RU"/>
        </a:p>
      </dgm:t>
    </dgm:pt>
    <dgm:pt modelId="{DF288E3A-E43C-4BFA-88A1-AFF4A2729323}" type="pres">
      <dgm:prSet presAssocID="{7837EC36-CE76-4397-A1A8-FD591B19CE85}" presName="linear" presStyleCnt="0">
        <dgm:presLayoutVars>
          <dgm:animLvl val="lvl"/>
          <dgm:resizeHandles val="exact"/>
        </dgm:presLayoutVars>
      </dgm:prSet>
      <dgm:spPr/>
    </dgm:pt>
    <dgm:pt modelId="{47C8E3E3-303A-4273-960A-75DD5FC76F19}" type="pres">
      <dgm:prSet presAssocID="{61DB193E-CA65-4720-A63C-DF7C2971F211}" presName="parentText" presStyleLbl="node1" presStyleIdx="0" presStyleCnt="3" custScaleX="86203" custScaleY="42502" custLinFactNeighborX="-6369" custLinFactNeighborY="8169">
        <dgm:presLayoutVars>
          <dgm:chMax val="0"/>
          <dgm:bulletEnabled val="1"/>
        </dgm:presLayoutVars>
      </dgm:prSet>
      <dgm:spPr/>
    </dgm:pt>
    <dgm:pt modelId="{DCE3F596-3957-476C-AC09-0DD9167B0C25}" type="pres">
      <dgm:prSet presAssocID="{61DB193E-CA65-4720-A63C-DF7C2971F211}" presName="childText" presStyleLbl="revTx" presStyleIdx="0" presStyleCnt="3" custLinFactNeighborY="9525">
        <dgm:presLayoutVars>
          <dgm:bulletEnabled val="1"/>
        </dgm:presLayoutVars>
      </dgm:prSet>
      <dgm:spPr/>
    </dgm:pt>
    <dgm:pt modelId="{8BB1C655-D101-4680-914A-57FF5375242A}" type="pres">
      <dgm:prSet presAssocID="{FD246B69-934E-4B06-9583-33044A32A5EB}" presName="parentText" presStyleLbl="node1" presStyleIdx="1" presStyleCnt="3" custScaleX="75111" custScaleY="45072" custLinFactNeighborX="-12047" custLinFactNeighborY="-6954">
        <dgm:presLayoutVars>
          <dgm:chMax val="0"/>
          <dgm:bulletEnabled val="1"/>
        </dgm:presLayoutVars>
      </dgm:prSet>
      <dgm:spPr/>
    </dgm:pt>
    <dgm:pt modelId="{3278BE09-4483-4247-B4C8-0E4316392771}" type="pres">
      <dgm:prSet presAssocID="{FD246B69-934E-4B06-9583-33044A32A5EB}" presName="childText" presStyleLbl="revTx" presStyleIdx="1" presStyleCnt="3" custLinFactNeighborY="-4740">
        <dgm:presLayoutVars>
          <dgm:bulletEnabled val="1"/>
        </dgm:presLayoutVars>
      </dgm:prSet>
      <dgm:spPr/>
    </dgm:pt>
    <dgm:pt modelId="{809DCDDE-C545-4B4A-BBA6-CF5626375780}" type="pres">
      <dgm:prSet presAssocID="{8C306CE3-7C8D-4AF9-A273-B47AE71F7B3F}" presName="parentText" presStyleLbl="node1" presStyleIdx="2" presStyleCnt="3" custScaleX="75111" custScaleY="45072" custLinFactNeighborX="-19159" custLinFactNeighborY="3842">
        <dgm:presLayoutVars>
          <dgm:chMax val="0"/>
          <dgm:bulletEnabled val="1"/>
        </dgm:presLayoutVars>
      </dgm:prSet>
      <dgm:spPr/>
    </dgm:pt>
    <dgm:pt modelId="{99CBC4FF-C0E8-4935-93F9-5DE0008D1735}" type="pres">
      <dgm:prSet presAssocID="{8C306CE3-7C8D-4AF9-A273-B47AE71F7B3F}" presName="childText" presStyleLbl="revTx" presStyleIdx="2" presStyleCnt="3" custLinFactNeighborX="-489" custLinFactNeighborY="6416">
        <dgm:presLayoutVars>
          <dgm:bulletEnabled val="1"/>
        </dgm:presLayoutVars>
      </dgm:prSet>
      <dgm:spPr/>
    </dgm:pt>
  </dgm:ptLst>
  <dgm:cxnLst>
    <dgm:cxn modelId="{F1C93704-7B08-4514-BDB1-3522677B756C}" type="presOf" srcId="{FD246B69-934E-4B06-9583-33044A32A5EB}" destId="{8BB1C655-D101-4680-914A-57FF5375242A}" srcOrd="0" destOrd="0" presId="urn:microsoft.com/office/officeart/2005/8/layout/vList2"/>
    <dgm:cxn modelId="{0A26D708-8ECF-4F61-BA0F-3BBA7C613285}" type="presOf" srcId="{8C306CE3-7C8D-4AF9-A273-B47AE71F7B3F}" destId="{809DCDDE-C545-4B4A-BBA6-CF5626375780}" srcOrd="0" destOrd="0" presId="urn:microsoft.com/office/officeart/2005/8/layout/vList2"/>
    <dgm:cxn modelId="{CF00090A-F3C0-44E7-805E-ACA2B225EEC0}" srcId="{8C306CE3-7C8D-4AF9-A273-B47AE71F7B3F}" destId="{6A6C7815-3861-4AE3-B63C-744CD90F363C}" srcOrd="3" destOrd="0" parTransId="{BA66DB02-78FD-42C8-BC62-E3FCAACD4F32}" sibTransId="{828092A1-35DE-4BE2-A1C5-80204BBDEA12}"/>
    <dgm:cxn modelId="{F59D6F12-E703-4D25-ADCD-AFC5A9A4B731}" type="presOf" srcId="{FFBCBE51-BEAB-4C03-AA5F-1D403D77088E}" destId="{3278BE09-4483-4247-B4C8-0E4316392771}" srcOrd="0" destOrd="4" presId="urn:microsoft.com/office/officeart/2005/8/layout/vList2"/>
    <dgm:cxn modelId="{9C2F6415-725A-4CF6-9484-6D0E9B81FA21}" srcId="{FD246B69-934E-4B06-9583-33044A32A5EB}" destId="{3ECD24B0-C8CF-4E07-B629-DE30AD72592D}" srcOrd="3" destOrd="0" parTransId="{E9400486-E2DA-4925-86CF-22B102DAD516}" sibTransId="{73671D7E-42E2-405D-9BB6-2E99E479C329}"/>
    <dgm:cxn modelId="{CB03DF27-11C4-4AD3-8FAA-BBC472FDBB0D}" srcId="{8C306CE3-7C8D-4AF9-A273-B47AE71F7B3F}" destId="{149C91DB-88C3-4B2E-A2B2-33DDF36BEC90}" srcOrd="1" destOrd="0" parTransId="{FB9048FA-FD75-4D9D-BE1E-EB062E8C31A6}" sibTransId="{3B53F4ED-1D92-46FB-9473-03D357F7B272}"/>
    <dgm:cxn modelId="{D53E8428-AC23-419D-8748-292773DBFCF3}" srcId="{8C306CE3-7C8D-4AF9-A273-B47AE71F7B3F}" destId="{CA0DD131-24D4-484E-ADFD-855ED5680B8B}" srcOrd="0" destOrd="0" parTransId="{B43F6D96-D322-4EF3-B304-CAF9BD2A6559}" sibTransId="{5FBEE1CE-7344-42A2-9774-A71DCAA55A80}"/>
    <dgm:cxn modelId="{6FC3A92F-D7E5-463D-82CB-B37269B59BA8}" type="presOf" srcId="{81E20291-E30B-4A26-B785-94B6F8BCBAA5}" destId="{3278BE09-4483-4247-B4C8-0E4316392771}" srcOrd="0" destOrd="1" presId="urn:microsoft.com/office/officeart/2005/8/layout/vList2"/>
    <dgm:cxn modelId="{F66AB134-8BFA-4CDA-B0A2-937F79F429FD}" type="presOf" srcId="{B199DEC7-6BCE-42BE-A70C-0E09B0F20546}" destId="{99CBC4FF-C0E8-4935-93F9-5DE0008D1735}" srcOrd="0" destOrd="4" presId="urn:microsoft.com/office/officeart/2005/8/layout/vList2"/>
    <dgm:cxn modelId="{71911939-643C-4F38-A2FB-40B80062C1D7}" srcId="{8C306CE3-7C8D-4AF9-A273-B47AE71F7B3F}" destId="{A68A7B02-4DAD-46FA-BDB6-9D1385693DBB}" srcOrd="2" destOrd="0" parTransId="{5DA0A870-3B81-49C9-AA70-89592FFB2B98}" sibTransId="{047A9F84-6086-44F8-9D3D-EB37CF2919B2}"/>
    <dgm:cxn modelId="{80F7653A-375E-44A5-B509-34C29F9F082F}" type="presOf" srcId="{61DB193E-CA65-4720-A63C-DF7C2971F211}" destId="{47C8E3E3-303A-4273-960A-75DD5FC76F19}" srcOrd="0" destOrd="0" presId="urn:microsoft.com/office/officeart/2005/8/layout/vList2"/>
    <dgm:cxn modelId="{C661D73E-FF8F-4147-8F37-1C19D1620DB1}" type="presOf" srcId="{7837EC36-CE76-4397-A1A8-FD591B19CE85}" destId="{DF288E3A-E43C-4BFA-88A1-AFF4A2729323}" srcOrd="0" destOrd="0" presId="urn:microsoft.com/office/officeart/2005/8/layout/vList2"/>
    <dgm:cxn modelId="{E65A593F-FF1F-4E8E-93CD-07909F423B04}" srcId="{FD246B69-934E-4B06-9583-33044A32A5EB}" destId="{1663474A-0D01-4565-93B4-34498ACE64E9}" srcOrd="5" destOrd="0" parTransId="{C6DF0DB2-787E-4C45-AC88-78EAAE6F6938}" sibTransId="{C7B7EFBC-40CB-41BD-B7B8-E77AD931293A}"/>
    <dgm:cxn modelId="{C4506F66-58F5-464F-8150-B1E8B6DBBF89}" srcId="{7837EC36-CE76-4397-A1A8-FD591B19CE85}" destId="{61DB193E-CA65-4720-A63C-DF7C2971F211}" srcOrd="0" destOrd="0" parTransId="{9BD5B3B1-8B29-4913-BA76-0FF3D2B2D350}" sibTransId="{5ADA5A26-9C40-40AF-BAB4-F2529CB83072}"/>
    <dgm:cxn modelId="{BE7E014B-D144-4C9A-9948-3130FA042D2F}" type="presOf" srcId="{E172DC74-E51E-4CED-B7E8-76821FD1DF3A}" destId="{DCE3F596-3957-476C-AC09-0DD9167B0C25}" srcOrd="0" destOrd="3" presId="urn:microsoft.com/office/officeart/2005/8/layout/vList2"/>
    <dgm:cxn modelId="{0FB8E94E-5E46-46F1-A492-E89FEA6F2C36}" srcId="{7837EC36-CE76-4397-A1A8-FD591B19CE85}" destId="{8C306CE3-7C8D-4AF9-A273-B47AE71F7B3F}" srcOrd="2" destOrd="0" parTransId="{403E43F0-7FAF-4F62-A4D9-3057E663FD2B}" sibTransId="{05436D6F-7544-4BB3-BF4D-791CDCC894D5}"/>
    <dgm:cxn modelId="{F47D0A6F-033D-4198-8976-9DE7D2C18DDE}" type="presOf" srcId="{1663474A-0D01-4565-93B4-34498ACE64E9}" destId="{3278BE09-4483-4247-B4C8-0E4316392771}" srcOrd="0" destOrd="5" presId="urn:microsoft.com/office/officeart/2005/8/layout/vList2"/>
    <dgm:cxn modelId="{739F8358-6D92-4DC1-BD77-3ECAB22D8EA1}" srcId="{61DB193E-CA65-4720-A63C-DF7C2971F211}" destId="{6115E8E9-2163-476C-8615-18C987818253}" srcOrd="0" destOrd="0" parTransId="{1A421A49-CA7C-4A4D-A3B7-8EAD527B2EA1}" sibTransId="{12E5880A-B315-47F6-8D15-0A328FA5FFC5}"/>
    <dgm:cxn modelId="{5958028B-BBDC-4F40-A902-AD077741F8DA}" srcId="{7837EC36-CE76-4397-A1A8-FD591B19CE85}" destId="{FD246B69-934E-4B06-9583-33044A32A5EB}" srcOrd="1" destOrd="0" parTransId="{F0F6E752-57DB-4065-A63E-7DD1D883DC3A}" sibTransId="{02C20CDC-A702-4C47-89FA-99D402DA7A8A}"/>
    <dgm:cxn modelId="{2940D591-E9D6-4F5A-B51E-087795644C40}" srcId="{8C306CE3-7C8D-4AF9-A273-B47AE71F7B3F}" destId="{B199DEC7-6BCE-42BE-A70C-0E09B0F20546}" srcOrd="4" destOrd="0" parTransId="{9533AD61-2A10-49A6-BD13-102F7A6DBA31}" sibTransId="{51B64EF2-5450-4C5B-AF29-621DCECD25CD}"/>
    <dgm:cxn modelId="{37030E97-6214-4898-91A1-DF8323042929}" type="presOf" srcId="{6A6C7815-3861-4AE3-B63C-744CD90F363C}" destId="{99CBC4FF-C0E8-4935-93F9-5DE0008D1735}" srcOrd="0" destOrd="3" presId="urn:microsoft.com/office/officeart/2005/8/layout/vList2"/>
    <dgm:cxn modelId="{40E6489C-C5D9-4C5A-A338-9B587F079DB4}" type="presOf" srcId="{519D2E33-348E-4750-A1F6-2D89F2BC8E8F}" destId="{DCE3F596-3957-476C-AC09-0DD9167B0C25}" srcOrd="0" destOrd="1" presId="urn:microsoft.com/office/officeart/2005/8/layout/vList2"/>
    <dgm:cxn modelId="{7B1C5CAD-2BA5-4DC5-A843-082BE72D8E2A}" srcId="{FD246B69-934E-4B06-9583-33044A32A5EB}" destId="{E8B78DB7-8925-438F-AACE-2D2986CC532E}" srcOrd="2" destOrd="0" parTransId="{1AEEA38E-E7DE-4962-9AC0-B7BE62FF38ED}" sibTransId="{64D0B5BC-FD4B-4156-9BE2-2FD7B7727C74}"/>
    <dgm:cxn modelId="{231891B4-3412-47D0-ABE6-3148383EA7F4}" srcId="{FD246B69-934E-4B06-9583-33044A32A5EB}" destId="{FFBCBE51-BEAB-4C03-AA5F-1D403D77088E}" srcOrd="4" destOrd="0" parTransId="{503F1625-75F6-4CE8-9951-8DCC295294F3}" sibTransId="{CFD179B4-313E-4E75-AB1E-56893D967DBE}"/>
    <dgm:cxn modelId="{D2E5FEB9-08C4-46A9-B026-409FC2AD0C51}" srcId="{61DB193E-CA65-4720-A63C-DF7C2971F211}" destId="{E172DC74-E51E-4CED-B7E8-76821FD1DF3A}" srcOrd="3" destOrd="0" parTransId="{2A5B36B4-C80D-40F1-ABAF-5A881C8B0B02}" sibTransId="{79A2A53C-2BD6-430F-BFAD-562BBD8B226E}"/>
    <dgm:cxn modelId="{02F708BD-4046-4404-A36F-A89CC1ED33BA}" srcId="{FD246B69-934E-4B06-9583-33044A32A5EB}" destId="{81E20291-E30B-4A26-B785-94B6F8BCBAA5}" srcOrd="1" destOrd="0" parTransId="{6BC5754D-158B-4DE9-8101-634FF40D709D}" sibTransId="{2E47A4B6-B6E8-4BB4-8C6D-F69C1E64FEDB}"/>
    <dgm:cxn modelId="{F9C28CBE-F1B0-4449-93C5-2EFEEE3B7E2A}" type="presOf" srcId="{149C91DB-88C3-4B2E-A2B2-33DDF36BEC90}" destId="{99CBC4FF-C0E8-4935-93F9-5DE0008D1735}" srcOrd="0" destOrd="1" presId="urn:microsoft.com/office/officeart/2005/8/layout/vList2"/>
    <dgm:cxn modelId="{D89959C4-5AAA-4E5A-841F-26D87128DC86}" type="presOf" srcId="{E8B78DB7-8925-438F-AACE-2D2986CC532E}" destId="{3278BE09-4483-4247-B4C8-0E4316392771}" srcOrd="0" destOrd="2" presId="urn:microsoft.com/office/officeart/2005/8/layout/vList2"/>
    <dgm:cxn modelId="{B7013DC5-B81B-4070-ADAD-A9BF6E6320D4}" type="presOf" srcId="{CA0DD131-24D4-484E-ADFD-855ED5680B8B}" destId="{99CBC4FF-C0E8-4935-93F9-5DE0008D1735}" srcOrd="0" destOrd="0" presId="urn:microsoft.com/office/officeart/2005/8/layout/vList2"/>
    <dgm:cxn modelId="{60948DCF-D4E0-40FD-9BD4-6DB46B0B7DAE}" type="presOf" srcId="{A68A7B02-4DAD-46FA-BDB6-9D1385693DBB}" destId="{99CBC4FF-C0E8-4935-93F9-5DE0008D1735}" srcOrd="0" destOrd="2" presId="urn:microsoft.com/office/officeart/2005/8/layout/vList2"/>
    <dgm:cxn modelId="{B7441BD7-7C7C-4BB2-8C00-F325AA8CCB9F}" srcId="{FD246B69-934E-4B06-9583-33044A32A5EB}" destId="{03871130-E81E-4387-9370-A6DFACCA18B2}" srcOrd="0" destOrd="0" parTransId="{2F2E9CB3-8B3F-4A61-BA4F-4C76AB296048}" sibTransId="{B436E813-D8C7-4F87-975A-65101EC90DD4}"/>
    <dgm:cxn modelId="{826DCDE1-E951-433D-B540-D2F6E0DB9761}" type="presOf" srcId="{03871130-E81E-4387-9370-A6DFACCA18B2}" destId="{3278BE09-4483-4247-B4C8-0E4316392771}" srcOrd="0" destOrd="0" presId="urn:microsoft.com/office/officeart/2005/8/layout/vList2"/>
    <dgm:cxn modelId="{8A6D9BE6-6CAF-40B1-81E5-61F4716EBB22}" srcId="{61DB193E-CA65-4720-A63C-DF7C2971F211}" destId="{519D2E33-348E-4750-A1F6-2D89F2BC8E8F}" srcOrd="1" destOrd="0" parTransId="{7A3BFC20-BF7B-42E5-AFE3-50DFC5FBC2DA}" sibTransId="{CF64D8EB-F2FA-4631-BEE7-BC4DF1780493}"/>
    <dgm:cxn modelId="{1B0800EB-4150-4D1F-80D0-585AFB0596BF}" type="presOf" srcId="{E4A7F489-7E3B-4B76-A454-6EE57E0EE274}" destId="{DCE3F596-3957-476C-AC09-0DD9167B0C25}" srcOrd="0" destOrd="2" presId="urn:microsoft.com/office/officeart/2005/8/layout/vList2"/>
    <dgm:cxn modelId="{F2267EED-77E1-4549-8920-017174897AEF}" type="presOf" srcId="{3ECD24B0-C8CF-4E07-B629-DE30AD72592D}" destId="{3278BE09-4483-4247-B4C8-0E4316392771}" srcOrd="0" destOrd="3" presId="urn:microsoft.com/office/officeart/2005/8/layout/vList2"/>
    <dgm:cxn modelId="{A48C29F4-3313-4069-86BB-F1FFB75F511E}" srcId="{61DB193E-CA65-4720-A63C-DF7C2971F211}" destId="{E4A7F489-7E3B-4B76-A454-6EE57E0EE274}" srcOrd="2" destOrd="0" parTransId="{E5DD78C3-2382-4170-A77D-71ECE97458F2}" sibTransId="{A0A7A8A6-EF27-431E-A26F-DFA61B6E36E9}"/>
    <dgm:cxn modelId="{5506CCF5-4665-4AB1-A85D-47C404770CFD}" type="presOf" srcId="{6115E8E9-2163-476C-8615-18C987818253}" destId="{DCE3F596-3957-476C-AC09-0DD9167B0C25}" srcOrd="0" destOrd="0" presId="urn:microsoft.com/office/officeart/2005/8/layout/vList2"/>
    <dgm:cxn modelId="{3807F872-2317-403A-8D0D-515DEAFD9F3C}" type="presParOf" srcId="{DF288E3A-E43C-4BFA-88A1-AFF4A2729323}" destId="{47C8E3E3-303A-4273-960A-75DD5FC76F19}" srcOrd="0" destOrd="0" presId="urn:microsoft.com/office/officeart/2005/8/layout/vList2"/>
    <dgm:cxn modelId="{8172E55E-E8F1-4282-96B5-2C9DD74D91C4}" type="presParOf" srcId="{DF288E3A-E43C-4BFA-88A1-AFF4A2729323}" destId="{DCE3F596-3957-476C-AC09-0DD9167B0C25}" srcOrd="1" destOrd="0" presId="urn:microsoft.com/office/officeart/2005/8/layout/vList2"/>
    <dgm:cxn modelId="{F2139559-404F-49B1-9244-D02CDD92F8F4}" type="presParOf" srcId="{DF288E3A-E43C-4BFA-88A1-AFF4A2729323}" destId="{8BB1C655-D101-4680-914A-57FF5375242A}" srcOrd="2" destOrd="0" presId="urn:microsoft.com/office/officeart/2005/8/layout/vList2"/>
    <dgm:cxn modelId="{4DF91D0A-3D57-40EC-B3E2-8A695D9EBB6A}" type="presParOf" srcId="{DF288E3A-E43C-4BFA-88A1-AFF4A2729323}" destId="{3278BE09-4483-4247-B4C8-0E4316392771}" srcOrd="3" destOrd="0" presId="urn:microsoft.com/office/officeart/2005/8/layout/vList2"/>
    <dgm:cxn modelId="{F4D47F0C-D527-4AA2-9F8D-4458333AF03A}" type="presParOf" srcId="{DF288E3A-E43C-4BFA-88A1-AFF4A2729323}" destId="{809DCDDE-C545-4B4A-BBA6-CF5626375780}" srcOrd="4" destOrd="0" presId="urn:microsoft.com/office/officeart/2005/8/layout/vList2"/>
    <dgm:cxn modelId="{42C297ED-55B4-4E0F-B634-D1098EBBBC71}" type="presParOf" srcId="{DF288E3A-E43C-4BFA-88A1-AFF4A2729323}" destId="{99CBC4FF-C0E8-4935-93F9-5DE0008D1735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8258F3C-51ED-4C38-A84C-5551A2C6563F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186789-22CE-4AE3-A90C-04991492EE14}">
      <dgm:prSet phldrT="[Текст]" custT="1"/>
      <dgm:spPr>
        <a:solidFill>
          <a:srgbClr val="F8CDA2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>
              <a:solidFill>
                <a:srgbClr val="4095DC"/>
              </a:solidFill>
            </a:rPr>
            <a:t>Сбор дождевых и талых вод с территории подъездной автодороги</a:t>
          </a:r>
        </a:p>
      </dgm:t>
    </dgm:pt>
    <dgm:pt modelId="{340277B6-5272-4CE2-B461-0469BF508B97}" type="parTrans" cxnId="{ACFAFFE8-DEC4-4228-8616-EACEB647845B}">
      <dgm:prSet/>
      <dgm:spPr/>
      <dgm:t>
        <a:bodyPr/>
        <a:lstStyle/>
        <a:p>
          <a:endParaRPr lang="ru-RU" sz="1000"/>
        </a:p>
      </dgm:t>
    </dgm:pt>
    <dgm:pt modelId="{D7D5F1DA-6E83-49FC-9339-CAB6F785B66E}" type="sibTrans" cxnId="{ACFAFFE8-DEC4-4228-8616-EACEB647845B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95AF0EEA-7933-4740-B05F-FA29A4094838}">
      <dgm:prSet phldrT="[Текст]" custT="1"/>
      <dgm:spPr>
        <a:solidFill>
          <a:srgbClr val="F8CDA2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>
              <a:solidFill>
                <a:srgbClr val="4095DC"/>
              </a:solidFill>
            </a:rPr>
            <a:t>Фильтр-патроны вдоль проезда 2 шт.</a:t>
          </a:r>
        </a:p>
        <a:p>
          <a:r>
            <a:rPr lang="ru-RU" sz="1000" dirty="0">
              <a:solidFill>
                <a:srgbClr val="4095DC"/>
              </a:solidFill>
            </a:rPr>
            <a:t>ФПКУ 1420x1800 </a:t>
          </a:r>
          <a:endParaRPr lang="ru-RU" sz="1000" b="1" dirty="0">
            <a:solidFill>
              <a:srgbClr val="4095DC"/>
            </a:solidFill>
          </a:endParaRPr>
        </a:p>
      </dgm:t>
    </dgm:pt>
    <dgm:pt modelId="{0E50BA1D-6431-4532-A2D8-B1EC68817D42}" type="parTrans" cxnId="{F807E46A-EF4A-4DE9-A9C7-920B5489A196}">
      <dgm:prSet/>
      <dgm:spPr/>
      <dgm:t>
        <a:bodyPr/>
        <a:lstStyle/>
        <a:p>
          <a:endParaRPr lang="ru-RU" sz="1000"/>
        </a:p>
      </dgm:t>
    </dgm:pt>
    <dgm:pt modelId="{409C9091-E284-4AA7-957F-8FDB2AA1BA71}" type="sibTrans" cxnId="{F807E46A-EF4A-4DE9-A9C7-920B5489A196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CC24B5AD-38FD-49ED-9CDA-851F9D603E27}">
      <dgm:prSet phldrT="[Текст]" custT="1"/>
      <dgm:spPr>
        <a:solidFill>
          <a:srgbClr val="F8CDA2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>
              <a:solidFill>
                <a:srgbClr val="4095DC"/>
              </a:solidFill>
            </a:rPr>
            <a:t>Нагорная канава пруда-накопителя</a:t>
          </a:r>
          <a:endParaRPr lang="ru-RU" sz="1000" baseline="30000" dirty="0">
            <a:solidFill>
              <a:srgbClr val="4095DC"/>
            </a:solidFill>
          </a:endParaRPr>
        </a:p>
      </dgm:t>
    </dgm:pt>
    <dgm:pt modelId="{2E33DD4E-C18F-4AEA-B68F-2F17EFE004EB}" type="parTrans" cxnId="{0702252B-4C52-407A-8993-E99C738BE6EB}">
      <dgm:prSet/>
      <dgm:spPr/>
      <dgm:t>
        <a:bodyPr/>
        <a:lstStyle/>
        <a:p>
          <a:endParaRPr lang="ru-RU" sz="1000"/>
        </a:p>
      </dgm:t>
    </dgm:pt>
    <dgm:pt modelId="{A9DB221A-8C96-4DD2-8BCD-711E6A67314E}" type="sibTrans" cxnId="{0702252B-4C52-407A-8993-E99C738BE6EB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086187D4-B6EC-4872-A954-E70DEF6A1963}">
      <dgm:prSet phldrT="[Текст]" custT="1"/>
      <dgm:spPr>
        <a:solidFill>
          <a:srgbClr val="F8CDA2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kern="1200" dirty="0">
              <a:solidFill>
                <a:srgbClr val="4095DC"/>
              </a:solidFill>
              <a:latin typeface="Arial"/>
              <a:ea typeface="Batang"/>
              <a:cs typeface="Arial"/>
            </a:rPr>
            <a:t>Промышленный канал</a:t>
          </a:r>
        </a:p>
      </dgm:t>
    </dgm:pt>
    <dgm:pt modelId="{E077B7D7-42C4-4007-929E-BA319A1EEBF6}" type="parTrans" cxnId="{FE298506-69DF-4BD8-93E8-324D016D5655}">
      <dgm:prSet/>
      <dgm:spPr/>
      <dgm:t>
        <a:bodyPr/>
        <a:lstStyle/>
        <a:p>
          <a:endParaRPr lang="ru-RU" sz="1000"/>
        </a:p>
      </dgm:t>
    </dgm:pt>
    <dgm:pt modelId="{03576613-6926-4E93-9BD4-E6D436D09F72}" type="sibTrans" cxnId="{FE298506-69DF-4BD8-93E8-324D016D5655}">
      <dgm:prSet/>
      <dgm:spPr/>
      <dgm:t>
        <a:bodyPr/>
        <a:lstStyle/>
        <a:p>
          <a:endParaRPr lang="ru-RU" sz="1000"/>
        </a:p>
      </dgm:t>
    </dgm:pt>
    <dgm:pt modelId="{9CD8C831-BB89-4F55-9C9C-BCB586B0D70F}" type="pres">
      <dgm:prSet presAssocID="{E8258F3C-51ED-4C38-A84C-5551A2C6563F}" presName="Name0" presStyleCnt="0">
        <dgm:presLayoutVars>
          <dgm:dir/>
          <dgm:resizeHandles val="exact"/>
        </dgm:presLayoutVars>
      </dgm:prSet>
      <dgm:spPr/>
    </dgm:pt>
    <dgm:pt modelId="{9DF40A7C-B21F-4DD1-A459-DA5EF6921F13}" type="pres">
      <dgm:prSet presAssocID="{96186789-22CE-4AE3-A90C-04991492EE14}" presName="node" presStyleLbl="node1" presStyleIdx="0" presStyleCnt="4">
        <dgm:presLayoutVars>
          <dgm:bulletEnabled val="1"/>
        </dgm:presLayoutVars>
      </dgm:prSet>
      <dgm:spPr/>
    </dgm:pt>
    <dgm:pt modelId="{9B4A7332-8CF7-4B90-B119-0463B294D4C8}" type="pres">
      <dgm:prSet presAssocID="{D7D5F1DA-6E83-49FC-9339-CAB6F785B66E}" presName="sibTrans" presStyleLbl="sibTrans2D1" presStyleIdx="0" presStyleCnt="3"/>
      <dgm:spPr/>
    </dgm:pt>
    <dgm:pt modelId="{D5401C49-0D56-459E-8EB4-125C42DF7577}" type="pres">
      <dgm:prSet presAssocID="{D7D5F1DA-6E83-49FC-9339-CAB6F785B66E}" presName="connectorText" presStyleLbl="sibTrans2D1" presStyleIdx="0" presStyleCnt="3"/>
      <dgm:spPr/>
    </dgm:pt>
    <dgm:pt modelId="{700E8CB0-BD36-40E1-940A-39500A895B24}" type="pres">
      <dgm:prSet presAssocID="{95AF0EEA-7933-4740-B05F-FA29A4094838}" presName="node" presStyleLbl="node1" presStyleIdx="1" presStyleCnt="4">
        <dgm:presLayoutVars>
          <dgm:bulletEnabled val="1"/>
        </dgm:presLayoutVars>
      </dgm:prSet>
      <dgm:spPr/>
    </dgm:pt>
    <dgm:pt modelId="{E5603D4A-D27D-4754-9A63-21964F0A801E}" type="pres">
      <dgm:prSet presAssocID="{409C9091-E284-4AA7-957F-8FDB2AA1BA71}" presName="sibTrans" presStyleLbl="sibTrans2D1" presStyleIdx="1" presStyleCnt="3"/>
      <dgm:spPr/>
    </dgm:pt>
    <dgm:pt modelId="{9E53689C-7D4C-4C1B-B1E0-81DDAEBDEE24}" type="pres">
      <dgm:prSet presAssocID="{409C9091-E284-4AA7-957F-8FDB2AA1BA71}" presName="connectorText" presStyleLbl="sibTrans2D1" presStyleIdx="1" presStyleCnt="3"/>
      <dgm:spPr/>
    </dgm:pt>
    <dgm:pt modelId="{51134FD8-EAE1-4129-9B0E-0B729FC58701}" type="pres">
      <dgm:prSet presAssocID="{CC24B5AD-38FD-49ED-9CDA-851F9D603E27}" presName="node" presStyleLbl="node1" presStyleIdx="2" presStyleCnt="4">
        <dgm:presLayoutVars>
          <dgm:bulletEnabled val="1"/>
        </dgm:presLayoutVars>
      </dgm:prSet>
      <dgm:spPr/>
    </dgm:pt>
    <dgm:pt modelId="{5381D2B4-20DD-467A-9C0C-434CF92F8DB4}" type="pres">
      <dgm:prSet presAssocID="{A9DB221A-8C96-4DD2-8BCD-711E6A67314E}" presName="sibTrans" presStyleLbl="sibTrans2D1" presStyleIdx="2" presStyleCnt="3"/>
      <dgm:spPr/>
    </dgm:pt>
    <dgm:pt modelId="{224DA1CA-26A0-4970-8B20-7C0BF1320D02}" type="pres">
      <dgm:prSet presAssocID="{A9DB221A-8C96-4DD2-8BCD-711E6A67314E}" presName="connectorText" presStyleLbl="sibTrans2D1" presStyleIdx="2" presStyleCnt="3"/>
      <dgm:spPr/>
    </dgm:pt>
    <dgm:pt modelId="{7C2084DC-BA6A-422C-81E1-4686916E09A3}" type="pres">
      <dgm:prSet presAssocID="{086187D4-B6EC-4872-A954-E70DEF6A1963}" presName="node" presStyleLbl="node1" presStyleIdx="3" presStyleCnt="4">
        <dgm:presLayoutVars>
          <dgm:bulletEnabled val="1"/>
        </dgm:presLayoutVars>
      </dgm:prSet>
      <dgm:spPr/>
    </dgm:pt>
  </dgm:ptLst>
  <dgm:cxnLst>
    <dgm:cxn modelId="{FE298506-69DF-4BD8-93E8-324D016D5655}" srcId="{E8258F3C-51ED-4C38-A84C-5551A2C6563F}" destId="{086187D4-B6EC-4872-A954-E70DEF6A1963}" srcOrd="3" destOrd="0" parTransId="{E077B7D7-42C4-4007-929E-BA319A1EEBF6}" sibTransId="{03576613-6926-4E93-9BD4-E6D436D09F72}"/>
    <dgm:cxn modelId="{C3F51113-1568-403B-9A25-F9DD2DCF5915}" type="presOf" srcId="{E8258F3C-51ED-4C38-A84C-5551A2C6563F}" destId="{9CD8C831-BB89-4F55-9C9C-BCB586B0D70F}" srcOrd="0" destOrd="0" presId="urn:microsoft.com/office/officeart/2005/8/layout/process1"/>
    <dgm:cxn modelId="{0702252B-4C52-407A-8993-E99C738BE6EB}" srcId="{E8258F3C-51ED-4C38-A84C-5551A2C6563F}" destId="{CC24B5AD-38FD-49ED-9CDA-851F9D603E27}" srcOrd="2" destOrd="0" parTransId="{2E33DD4E-C18F-4AEA-B68F-2F17EFE004EB}" sibTransId="{A9DB221A-8C96-4DD2-8BCD-711E6A67314E}"/>
    <dgm:cxn modelId="{95D85669-084E-4D87-A240-B45C50689DF4}" type="presOf" srcId="{96186789-22CE-4AE3-A90C-04991492EE14}" destId="{9DF40A7C-B21F-4DD1-A459-DA5EF6921F13}" srcOrd="0" destOrd="0" presId="urn:microsoft.com/office/officeart/2005/8/layout/process1"/>
    <dgm:cxn modelId="{1FCC834A-CC2D-4C93-A8CC-5E9CCD1E5A84}" type="presOf" srcId="{086187D4-B6EC-4872-A954-E70DEF6A1963}" destId="{7C2084DC-BA6A-422C-81E1-4686916E09A3}" srcOrd="0" destOrd="0" presId="urn:microsoft.com/office/officeart/2005/8/layout/process1"/>
    <dgm:cxn modelId="{F807E46A-EF4A-4DE9-A9C7-920B5489A196}" srcId="{E8258F3C-51ED-4C38-A84C-5551A2C6563F}" destId="{95AF0EEA-7933-4740-B05F-FA29A4094838}" srcOrd="1" destOrd="0" parTransId="{0E50BA1D-6431-4532-A2D8-B1EC68817D42}" sibTransId="{409C9091-E284-4AA7-957F-8FDB2AA1BA71}"/>
    <dgm:cxn modelId="{C248E370-E9C3-4EBB-AD1C-15E6B7C38F6F}" type="presOf" srcId="{D7D5F1DA-6E83-49FC-9339-CAB6F785B66E}" destId="{9B4A7332-8CF7-4B90-B119-0463B294D4C8}" srcOrd="0" destOrd="0" presId="urn:microsoft.com/office/officeart/2005/8/layout/process1"/>
    <dgm:cxn modelId="{B7631F71-AA24-4CDF-B600-29FEC3F88740}" type="presOf" srcId="{409C9091-E284-4AA7-957F-8FDB2AA1BA71}" destId="{E5603D4A-D27D-4754-9A63-21964F0A801E}" srcOrd="0" destOrd="0" presId="urn:microsoft.com/office/officeart/2005/8/layout/process1"/>
    <dgm:cxn modelId="{2FBF6A8A-9080-4F3A-AA75-48C25C97B97E}" type="presOf" srcId="{A9DB221A-8C96-4DD2-8BCD-711E6A67314E}" destId="{5381D2B4-20DD-467A-9C0C-434CF92F8DB4}" srcOrd="0" destOrd="0" presId="urn:microsoft.com/office/officeart/2005/8/layout/process1"/>
    <dgm:cxn modelId="{D004688F-E325-4561-A16C-A0AB451C56A3}" type="presOf" srcId="{95AF0EEA-7933-4740-B05F-FA29A4094838}" destId="{700E8CB0-BD36-40E1-940A-39500A895B24}" srcOrd="0" destOrd="0" presId="urn:microsoft.com/office/officeart/2005/8/layout/process1"/>
    <dgm:cxn modelId="{4F2687A7-76D5-4508-8156-242437CE1E88}" type="presOf" srcId="{409C9091-E284-4AA7-957F-8FDB2AA1BA71}" destId="{9E53689C-7D4C-4C1B-B1E0-81DDAEBDEE24}" srcOrd="1" destOrd="0" presId="urn:microsoft.com/office/officeart/2005/8/layout/process1"/>
    <dgm:cxn modelId="{1E05D8A9-72E1-4603-B800-68937BCBE0A2}" type="presOf" srcId="{A9DB221A-8C96-4DD2-8BCD-711E6A67314E}" destId="{224DA1CA-26A0-4970-8B20-7C0BF1320D02}" srcOrd="1" destOrd="0" presId="urn:microsoft.com/office/officeart/2005/8/layout/process1"/>
    <dgm:cxn modelId="{1CB2E5AD-5D2F-4E4B-9FE3-46FB7F75F841}" type="presOf" srcId="{D7D5F1DA-6E83-49FC-9339-CAB6F785B66E}" destId="{D5401C49-0D56-459E-8EB4-125C42DF7577}" srcOrd="1" destOrd="0" presId="urn:microsoft.com/office/officeart/2005/8/layout/process1"/>
    <dgm:cxn modelId="{C7C74FD1-ED29-4F65-AFF7-ED69AC5E1427}" type="presOf" srcId="{CC24B5AD-38FD-49ED-9CDA-851F9D603E27}" destId="{51134FD8-EAE1-4129-9B0E-0B729FC58701}" srcOrd="0" destOrd="0" presId="urn:microsoft.com/office/officeart/2005/8/layout/process1"/>
    <dgm:cxn modelId="{ACFAFFE8-DEC4-4228-8616-EACEB647845B}" srcId="{E8258F3C-51ED-4C38-A84C-5551A2C6563F}" destId="{96186789-22CE-4AE3-A90C-04991492EE14}" srcOrd="0" destOrd="0" parTransId="{340277B6-5272-4CE2-B461-0469BF508B97}" sibTransId="{D7D5F1DA-6E83-49FC-9339-CAB6F785B66E}"/>
    <dgm:cxn modelId="{28E379AA-7FF1-4631-A1D3-D53E92684A30}" type="presParOf" srcId="{9CD8C831-BB89-4F55-9C9C-BCB586B0D70F}" destId="{9DF40A7C-B21F-4DD1-A459-DA5EF6921F13}" srcOrd="0" destOrd="0" presId="urn:microsoft.com/office/officeart/2005/8/layout/process1"/>
    <dgm:cxn modelId="{384145FD-ED35-446B-9687-A1A9DB312792}" type="presParOf" srcId="{9CD8C831-BB89-4F55-9C9C-BCB586B0D70F}" destId="{9B4A7332-8CF7-4B90-B119-0463B294D4C8}" srcOrd="1" destOrd="0" presId="urn:microsoft.com/office/officeart/2005/8/layout/process1"/>
    <dgm:cxn modelId="{E5011842-F410-45E2-9B16-100C82888CF0}" type="presParOf" srcId="{9B4A7332-8CF7-4B90-B119-0463B294D4C8}" destId="{D5401C49-0D56-459E-8EB4-125C42DF7577}" srcOrd="0" destOrd="0" presId="urn:microsoft.com/office/officeart/2005/8/layout/process1"/>
    <dgm:cxn modelId="{AC227ADE-906B-4562-8D64-80302D06E9E6}" type="presParOf" srcId="{9CD8C831-BB89-4F55-9C9C-BCB586B0D70F}" destId="{700E8CB0-BD36-40E1-940A-39500A895B24}" srcOrd="2" destOrd="0" presId="urn:microsoft.com/office/officeart/2005/8/layout/process1"/>
    <dgm:cxn modelId="{EE007975-4224-4B3B-8B26-BE6C2130E646}" type="presParOf" srcId="{9CD8C831-BB89-4F55-9C9C-BCB586B0D70F}" destId="{E5603D4A-D27D-4754-9A63-21964F0A801E}" srcOrd="3" destOrd="0" presId="urn:microsoft.com/office/officeart/2005/8/layout/process1"/>
    <dgm:cxn modelId="{7BFD1638-7807-40E5-8A1A-8316235D6739}" type="presParOf" srcId="{E5603D4A-D27D-4754-9A63-21964F0A801E}" destId="{9E53689C-7D4C-4C1B-B1E0-81DDAEBDEE24}" srcOrd="0" destOrd="0" presId="urn:microsoft.com/office/officeart/2005/8/layout/process1"/>
    <dgm:cxn modelId="{6E2E6E0A-8EEC-4E95-B7BC-4797B04813BA}" type="presParOf" srcId="{9CD8C831-BB89-4F55-9C9C-BCB586B0D70F}" destId="{51134FD8-EAE1-4129-9B0E-0B729FC58701}" srcOrd="4" destOrd="0" presId="urn:microsoft.com/office/officeart/2005/8/layout/process1"/>
    <dgm:cxn modelId="{366A2E15-7BB7-400B-B0DE-B026F21F4705}" type="presParOf" srcId="{9CD8C831-BB89-4F55-9C9C-BCB586B0D70F}" destId="{5381D2B4-20DD-467A-9C0C-434CF92F8DB4}" srcOrd="5" destOrd="0" presId="urn:microsoft.com/office/officeart/2005/8/layout/process1"/>
    <dgm:cxn modelId="{65DBC45D-1DE6-470D-BE04-2A2C04F932CA}" type="presParOf" srcId="{5381D2B4-20DD-467A-9C0C-434CF92F8DB4}" destId="{224DA1CA-26A0-4970-8B20-7C0BF1320D02}" srcOrd="0" destOrd="0" presId="urn:microsoft.com/office/officeart/2005/8/layout/process1"/>
    <dgm:cxn modelId="{86E37C83-6DC0-463B-BBEE-95F3B2E3DC80}" type="presParOf" srcId="{9CD8C831-BB89-4F55-9C9C-BCB586B0D70F}" destId="{7C2084DC-BA6A-422C-81E1-4686916E09A3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5972623-8F3F-4FC2-B104-7070E0325B39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4842A2F-BB7E-48B3-92B3-6F78E79CFFD3}" type="pres">
      <dgm:prSet presAssocID="{C5972623-8F3F-4FC2-B104-7070E0325B39}" presName="layout" presStyleCnt="0">
        <dgm:presLayoutVars>
          <dgm:chMax/>
          <dgm:chPref/>
          <dgm:dir/>
          <dgm:resizeHandles/>
        </dgm:presLayoutVars>
      </dgm:prSet>
      <dgm:spPr/>
    </dgm:pt>
  </dgm:ptLst>
  <dgm:cxnLst>
    <dgm:cxn modelId="{B47F2DCF-91D2-4910-A546-5539FAEC0FE8}" type="presOf" srcId="{C5972623-8F3F-4FC2-B104-7070E0325B39}" destId="{74842A2F-BB7E-48B3-92B3-6F78E79CFFD3}" srcOrd="0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29801BE-BD13-46CA-B491-C01886A8625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421ECC6-6D99-40C0-801D-E1CBA5010CBE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400" b="1" dirty="0">
              <a:solidFill>
                <a:srgbClr val="14446C"/>
              </a:solidFill>
            </a:rPr>
            <a:t>Трассы высоконапорных водоводов</a:t>
          </a:r>
        </a:p>
      </dgm:t>
    </dgm:pt>
    <dgm:pt modelId="{9B135AD0-8CCA-44A2-B808-97EEF58970C4}" type="parTrans" cxnId="{8C1B7ACD-C24B-42A4-8C1A-18787D575017}">
      <dgm:prSet/>
      <dgm:spPr/>
      <dgm:t>
        <a:bodyPr/>
        <a:lstStyle/>
        <a:p>
          <a:endParaRPr lang="ru-RU" sz="1100"/>
        </a:p>
      </dgm:t>
    </dgm:pt>
    <dgm:pt modelId="{B4FC5FF9-04A3-4F90-ACF6-6D52AE5429C6}" type="sibTrans" cxnId="{8C1B7ACD-C24B-42A4-8C1A-18787D575017}">
      <dgm:prSet/>
      <dgm:spPr/>
      <dgm:t>
        <a:bodyPr/>
        <a:lstStyle/>
        <a:p>
          <a:endParaRPr lang="ru-RU" sz="1100"/>
        </a:p>
      </dgm:t>
    </dgm:pt>
    <dgm:pt modelId="{B8779CC1-C6BE-438D-BC71-C16C2A3BD86D}">
      <dgm:prSet phldrT="[Текст]" custT="1"/>
      <dgm:spPr/>
      <dgm:t>
        <a:bodyPr/>
        <a:lstStyle/>
        <a:p>
          <a:r>
            <a:rPr lang="ru-RU" sz="1200" dirty="0">
              <a:solidFill>
                <a:schemeClr val="accent4"/>
              </a:solidFill>
              <a:latin typeface="+mn-lt"/>
            </a:rPr>
            <a:t>подземный способ прокладки. Основной способ – метод горизонтально направленного бурения</a:t>
          </a:r>
        </a:p>
      </dgm:t>
    </dgm:pt>
    <dgm:pt modelId="{9F96633C-3CC2-4380-A2F5-03B043CB0A45}" type="parTrans" cxnId="{D06D72FD-18A2-4D20-B93C-4A18EA298BFD}">
      <dgm:prSet/>
      <dgm:spPr/>
      <dgm:t>
        <a:bodyPr/>
        <a:lstStyle/>
        <a:p>
          <a:endParaRPr lang="ru-RU" sz="1100"/>
        </a:p>
      </dgm:t>
    </dgm:pt>
    <dgm:pt modelId="{ADC298C3-A411-40D7-9FDF-01A54AD1D605}" type="sibTrans" cxnId="{D06D72FD-18A2-4D20-B93C-4A18EA298BFD}">
      <dgm:prSet/>
      <dgm:spPr/>
      <dgm:t>
        <a:bodyPr/>
        <a:lstStyle/>
        <a:p>
          <a:endParaRPr lang="ru-RU" sz="1100"/>
        </a:p>
      </dgm:t>
    </dgm:pt>
    <dgm:pt modelId="{9E8A9CE4-E1DE-458C-A9C2-862B6DD273EA}">
      <dgm:prSet phldrT="[Текст]" custT="1"/>
      <dgm:spPr/>
      <dgm:t>
        <a:bodyPr/>
        <a:lstStyle/>
        <a:p>
          <a:r>
            <a:rPr lang="ru-RU" sz="1200" dirty="0">
              <a:solidFill>
                <a:schemeClr val="accent4"/>
              </a:solidFill>
              <a:latin typeface="+mn-lt"/>
            </a:rPr>
            <a:t>площадь земель краткосрочного пользования -  </a:t>
          </a:r>
          <a:r>
            <a:rPr lang="ru-RU" sz="1200" b="1" dirty="0">
              <a:solidFill>
                <a:srgbClr val="236CB0"/>
              </a:solidFill>
              <a:latin typeface="+mn-lt"/>
            </a:rPr>
            <a:t>0,789963 га</a:t>
          </a:r>
        </a:p>
      </dgm:t>
    </dgm:pt>
    <dgm:pt modelId="{C576D751-DFB7-4436-9543-E60EB02C38B1}" type="parTrans" cxnId="{7A923D0B-C439-4632-96A0-6A91CFB7EE71}">
      <dgm:prSet/>
      <dgm:spPr/>
      <dgm:t>
        <a:bodyPr/>
        <a:lstStyle/>
        <a:p>
          <a:endParaRPr lang="ru-RU" sz="1100"/>
        </a:p>
      </dgm:t>
    </dgm:pt>
    <dgm:pt modelId="{D17CDC42-5E09-4CF1-BF40-10178BCBF82B}" type="sibTrans" cxnId="{7A923D0B-C439-4632-96A0-6A91CFB7EE71}">
      <dgm:prSet/>
      <dgm:spPr/>
      <dgm:t>
        <a:bodyPr/>
        <a:lstStyle/>
        <a:p>
          <a:endParaRPr lang="ru-RU" sz="1100"/>
        </a:p>
      </dgm:t>
    </dgm:pt>
    <dgm:pt modelId="{C6661FCE-3F6B-4109-8A8D-A4B0227663AF}">
      <dgm:prSet custT="1"/>
      <dgm:spPr/>
      <dgm:t>
        <a:bodyPr/>
        <a:lstStyle/>
        <a:p>
          <a:r>
            <a:rPr lang="ru-RU" sz="1200" dirty="0">
              <a:solidFill>
                <a:schemeClr val="accent4"/>
              </a:solidFill>
              <a:latin typeface="+mn-lt"/>
            </a:rPr>
            <a:t>площадь постоянного отвода </a:t>
          </a:r>
          <a:r>
            <a:rPr lang="ru-RU" sz="1200" b="1" dirty="0">
              <a:solidFill>
                <a:srgbClr val="236CB0"/>
              </a:solidFill>
              <a:latin typeface="+mn-lt"/>
            </a:rPr>
            <a:t>0,107863 га</a:t>
          </a:r>
        </a:p>
      </dgm:t>
    </dgm:pt>
    <dgm:pt modelId="{C3850CF9-9391-48F3-AD09-E85C65B82F05}" type="parTrans" cxnId="{23655329-7940-4BD8-B3C9-9C39E1737312}">
      <dgm:prSet/>
      <dgm:spPr/>
      <dgm:t>
        <a:bodyPr/>
        <a:lstStyle/>
        <a:p>
          <a:endParaRPr lang="ru-RU" sz="1100"/>
        </a:p>
      </dgm:t>
    </dgm:pt>
    <dgm:pt modelId="{5AB8AE01-E03D-4B9B-B550-C51EF1056259}" type="sibTrans" cxnId="{23655329-7940-4BD8-B3C9-9C39E1737312}">
      <dgm:prSet/>
      <dgm:spPr/>
      <dgm:t>
        <a:bodyPr/>
        <a:lstStyle/>
        <a:p>
          <a:endParaRPr lang="ru-RU" sz="1100"/>
        </a:p>
      </dgm:t>
    </dgm:pt>
    <dgm:pt modelId="{542D8FA7-814F-416E-AFF5-C72574B2E35C}" type="pres">
      <dgm:prSet presAssocID="{F29801BE-BD13-46CA-B491-C01886A86257}" presName="linear" presStyleCnt="0">
        <dgm:presLayoutVars>
          <dgm:animLvl val="lvl"/>
          <dgm:resizeHandles val="exact"/>
        </dgm:presLayoutVars>
      </dgm:prSet>
      <dgm:spPr/>
    </dgm:pt>
    <dgm:pt modelId="{8EEC96F4-B5C9-4A9D-B834-831375E6CEEC}" type="pres">
      <dgm:prSet presAssocID="{3421ECC6-6D99-40C0-801D-E1CBA5010CBE}" presName="parentText" presStyleLbl="node1" presStyleIdx="0" presStyleCnt="1" custScaleY="50948" custLinFactNeighborX="2486" custLinFactNeighborY="-2674">
        <dgm:presLayoutVars>
          <dgm:chMax val="0"/>
          <dgm:bulletEnabled val="1"/>
        </dgm:presLayoutVars>
      </dgm:prSet>
      <dgm:spPr/>
    </dgm:pt>
    <dgm:pt modelId="{C581CBC5-9885-429B-BC77-3CD4C94F4BE3}" type="pres">
      <dgm:prSet presAssocID="{3421ECC6-6D99-40C0-801D-E1CBA5010CBE}" presName="childText" presStyleLbl="revTx" presStyleIdx="0" presStyleCnt="1" custLinFactNeighborX="-516" custLinFactNeighborY="3567">
        <dgm:presLayoutVars>
          <dgm:bulletEnabled val="1"/>
        </dgm:presLayoutVars>
      </dgm:prSet>
      <dgm:spPr/>
    </dgm:pt>
  </dgm:ptLst>
  <dgm:cxnLst>
    <dgm:cxn modelId="{7A923D0B-C439-4632-96A0-6A91CFB7EE71}" srcId="{3421ECC6-6D99-40C0-801D-E1CBA5010CBE}" destId="{9E8A9CE4-E1DE-458C-A9C2-862B6DD273EA}" srcOrd="1" destOrd="0" parTransId="{C576D751-DFB7-4436-9543-E60EB02C38B1}" sibTransId="{D17CDC42-5E09-4CF1-BF40-10178BCBF82B}"/>
    <dgm:cxn modelId="{15EC2528-F3B2-42BF-98F7-9389192D2017}" type="presOf" srcId="{C6661FCE-3F6B-4109-8A8D-A4B0227663AF}" destId="{C581CBC5-9885-429B-BC77-3CD4C94F4BE3}" srcOrd="0" destOrd="2" presId="urn:microsoft.com/office/officeart/2005/8/layout/vList2"/>
    <dgm:cxn modelId="{23655329-7940-4BD8-B3C9-9C39E1737312}" srcId="{3421ECC6-6D99-40C0-801D-E1CBA5010CBE}" destId="{C6661FCE-3F6B-4109-8A8D-A4B0227663AF}" srcOrd="2" destOrd="0" parTransId="{C3850CF9-9391-48F3-AD09-E85C65B82F05}" sibTransId="{5AB8AE01-E03D-4B9B-B550-C51EF1056259}"/>
    <dgm:cxn modelId="{F669DB99-7CB1-4B03-8ED4-E2ED194A035E}" type="presOf" srcId="{9E8A9CE4-E1DE-458C-A9C2-862B6DD273EA}" destId="{C581CBC5-9885-429B-BC77-3CD4C94F4BE3}" srcOrd="0" destOrd="1" presId="urn:microsoft.com/office/officeart/2005/8/layout/vList2"/>
    <dgm:cxn modelId="{8371E1A0-5559-4731-A30E-A9E49A606BBC}" type="presOf" srcId="{F29801BE-BD13-46CA-B491-C01886A86257}" destId="{542D8FA7-814F-416E-AFF5-C72574B2E35C}" srcOrd="0" destOrd="0" presId="urn:microsoft.com/office/officeart/2005/8/layout/vList2"/>
    <dgm:cxn modelId="{8C1B7ACD-C24B-42A4-8C1A-18787D575017}" srcId="{F29801BE-BD13-46CA-B491-C01886A86257}" destId="{3421ECC6-6D99-40C0-801D-E1CBA5010CBE}" srcOrd="0" destOrd="0" parTransId="{9B135AD0-8CCA-44A2-B808-97EEF58970C4}" sibTransId="{B4FC5FF9-04A3-4F90-ACF6-6D52AE5429C6}"/>
    <dgm:cxn modelId="{D38B54E6-2634-4D39-94CF-C5F1D2DCFBBC}" type="presOf" srcId="{3421ECC6-6D99-40C0-801D-E1CBA5010CBE}" destId="{8EEC96F4-B5C9-4A9D-B834-831375E6CEEC}" srcOrd="0" destOrd="0" presId="urn:microsoft.com/office/officeart/2005/8/layout/vList2"/>
    <dgm:cxn modelId="{B6454AE7-C3F6-48AA-A5A0-75C3CF4677FD}" type="presOf" srcId="{B8779CC1-C6BE-438D-BC71-C16C2A3BD86D}" destId="{C581CBC5-9885-429B-BC77-3CD4C94F4BE3}" srcOrd="0" destOrd="0" presId="urn:microsoft.com/office/officeart/2005/8/layout/vList2"/>
    <dgm:cxn modelId="{D06D72FD-18A2-4D20-B93C-4A18EA298BFD}" srcId="{3421ECC6-6D99-40C0-801D-E1CBA5010CBE}" destId="{B8779CC1-C6BE-438D-BC71-C16C2A3BD86D}" srcOrd="0" destOrd="0" parTransId="{9F96633C-3CC2-4380-A2F5-03B043CB0A45}" sibTransId="{ADC298C3-A411-40D7-9FDF-01A54AD1D605}"/>
    <dgm:cxn modelId="{852FF36E-26D6-46D0-A500-6E44B5AF4D76}" type="presParOf" srcId="{542D8FA7-814F-416E-AFF5-C72574B2E35C}" destId="{8EEC96F4-B5C9-4A9D-B834-831375E6CEEC}" srcOrd="0" destOrd="0" presId="urn:microsoft.com/office/officeart/2005/8/layout/vList2"/>
    <dgm:cxn modelId="{9BED486B-66C6-4F7C-9D85-0CA770218CB5}" type="presParOf" srcId="{542D8FA7-814F-416E-AFF5-C72574B2E35C}" destId="{C581CBC5-9885-429B-BC77-3CD4C94F4BE3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5972623-8F3F-4FC2-B104-7070E0325B39}" type="doc">
      <dgm:prSet loTypeId="urn:microsoft.com/office/officeart/2008/layout/Square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4842A2F-BB7E-48B3-92B3-6F78E79CFFD3}" type="pres">
      <dgm:prSet presAssocID="{C5972623-8F3F-4FC2-B104-7070E0325B39}" presName="layout" presStyleCnt="0">
        <dgm:presLayoutVars>
          <dgm:chMax/>
          <dgm:chPref/>
          <dgm:dir/>
          <dgm:resizeHandles/>
        </dgm:presLayoutVars>
      </dgm:prSet>
      <dgm:spPr/>
    </dgm:pt>
  </dgm:ptLst>
  <dgm:cxnLst>
    <dgm:cxn modelId="{B47F2DCF-91D2-4910-A546-5539FAEC0FE8}" type="presOf" srcId="{C5972623-8F3F-4FC2-B104-7070E0325B39}" destId="{74842A2F-BB7E-48B3-92B3-6F78E79CFFD3}" srcOrd="0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3F376A5B-5E50-4CAD-AD6A-FF41F32B9329}" type="doc">
      <dgm:prSet loTypeId="urn:microsoft.com/office/officeart/2005/8/layout/vList4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ru-RU"/>
        </a:p>
      </dgm:t>
    </dgm:pt>
    <dgm:pt modelId="{77D0F318-3A57-497E-BA8B-70C126DFE9BA}">
      <dgm:prSet phldrT="[Текст]" custT="1"/>
      <dgm:spPr>
        <a:noFill/>
        <a:ln>
          <a:noFill/>
        </a:ln>
      </dgm:spPr>
      <dgm:t>
        <a:bodyPr/>
        <a:lstStyle/>
        <a:p>
          <a:pPr algn="just">
            <a:lnSpc>
              <a:spcPct val="100000"/>
            </a:lnSpc>
            <a:spcAft>
              <a:spcPts val="0"/>
            </a:spcAft>
          </a:pPr>
          <a:r>
            <a:rPr lang="ru-RU" sz="1300" b="0" dirty="0">
              <a:solidFill>
                <a:schemeClr val="tx1"/>
              </a:solidFill>
              <a:latin typeface="+mn-lt"/>
            </a:rPr>
            <a:t>Реализация намечаемой хозяйственной деятельности обеспечит технологический процесс отведения стоков филиала «Азот» АО «ОХК «УРАЛХИМ» в городе Березники</a:t>
          </a:r>
          <a:endParaRPr lang="ru-RU" sz="1300" dirty="0">
            <a:solidFill>
              <a:schemeClr val="tx1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356E4C0-A4C0-4A40-BF9F-D2937C1F578D}" type="parTrans" cxnId="{66601091-C553-4E5A-AFE1-D0085481160B}">
      <dgm:prSet/>
      <dgm:spPr/>
      <dgm:t>
        <a:bodyPr/>
        <a:lstStyle/>
        <a:p>
          <a:pPr>
            <a:lnSpc>
              <a:spcPct val="100000"/>
            </a:lnSpc>
          </a:pPr>
          <a:endParaRPr lang="ru-RU" sz="1000">
            <a:solidFill>
              <a:srgbClr val="3D464A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1869D83-19D6-4FE8-A6F3-04BC71C27081}" type="sibTrans" cxnId="{66601091-C553-4E5A-AFE1-D0085481160B}">
      <dgm:prSet/>
      <dgm:spPr/>
      <dgm:t>
        <a:bodyPr/>
        <a:lstStyle/>
        <a:p>
          <a:pPr>
            <a:lnSpc>
              <a:spcPct val="100000"/>
            </a:lnSpc>
          </a:pPr>
          <a:endParaRPr lang="ru-RU" sz="1000">
            <a:solidFill>
              <a:srgbClr val="3D464A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4C18668-B6AE-4654-8224-D798E80A1490}">
      <dgm:prSet phldrT="[Текст]" custT="1"/>
      <dgm:spPr>
        <a:noFill/>
        <a:ln>
          <a:noFill/>
        </a:ln>
      </dgm:spPr>
      <dgm:t>
        <a:bodyPr/>
        <a:lstStyle/>
        <a:p>
          <a:pPr algn="just">
            <a:lnSpc>
              <a:spcPct val="100000"/>
            </a:lnSpc>
            <a:spcAft>
              <a:spcPts val="0"/>
            </a:spcAft>
          </a:pPr>
          <a:r>
            <a:rPr lang="ru-RU" sz="1300" dirty="0">
              <a:solidFill>
                <a:schemeClr val="tx1"/>
              </a:solidFill>
              <a:uFill>
                <a:solidFill>
                  <a:srgbClr val="FA9D10"/>
                </a:solidFill>
              </a:u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Негативное воздействие на атмосферный воздух предполагается только  при строительстве. Продолжительность строительства – 10,0 мес.</a:t>
          </a:r>
          <a:endParaRPr lang="ru-RU" sz="1300" dirty="0">
            <a:solidFill>
              <a:schemeClr val="tx1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CC40AD8-2BD2-4B1A-9AEC-C31ECB6C103B}" type="parTrans" cxnId="{4A7DA51A-11A3-43F7-909D-F2B76B9CB30C}">
      <dgm:prSet/>
      <dgm:spPr/>
      <dgm:t>
        <a:bodyPr/>
        <a:lstStyle/>
        <a:p>
          <a:pPr>
            <a:lnSpc>
              <a:spcPct val="100000"/>
            </a:lnSpc>
          </a:pPr>
          <a:endParaRPr lang="ru-RU" sz="1000">
            <a:solidFill>
              <a:srgbClr val="3D464A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18AB43B-5355-4981-9376-C38BF8736E82}" type="sibTrans" cxnId="{4A7DA51A-11A3-43F7-909D-F2B76B9CB30C}">
      <dgm:prSet/>
      <dgm:spPr/>
      <dgm:t>
        <a:bodyPr/>
        <a:lstStyle/>
        <a:p>
          <a:pPr>
            <a:lnSpc>
              <a:spcPct val="100000"/>
            </a:lnSpc>
          </a:pPr>
          <a:endParaRPr lang="ru-RU" sz="1000">
            <a:solidFill>
              <a:srgbClr val="3D464A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EE85327-AADC-4025-A630-A8E1DEA02FED}">
      <dgm:prSet phldrT="[Текст]" custT="1"/>
      <dgm:spPr>
        <a:noFill/>
        <a:ln>
          <a:noFill/>
        </a:ln>
      </dgm:spPr>
      <dgm:t>
        <a:bodyPr/>
        <a:lstStyle/>
        <a:p>
          <a:pPr algn="just">
            <a:lnSpc>
              <a:spcPct val="100000"/>
            </a:lnSpc>
            <a:spcAft>
              <a:spcPts val="0"/>
            </a:spcAft>
          </a:pPr>
          <a:r>
            <a:rPr lang="ru-RU" sz="1300" b="1" dirty="0">
              <a:solidFill>
                <a:schemeClr val="tx1"/>
              </a:solidFill>
              <a:uFill>
                <a:solidFill>
                  <a:srgbClr val="FA9D10"/>
                </a:solidFill>
              </a:u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Воздействие на окружающую среду, предусмотренное проектом, с учетом проведения природоохранных мероприятий, является допустимым</a:t>
          </a:r>
          <a:endParaRPr lang="ru-RU" sz="1300" dirty="0">
            <a:solidFill>
              <a:schemeClr val="tx1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E6D827A-CCAA-4EA7-BCD1-A805FC3867AE}" type="parTrans" cxnId="{D85CDE35-7A96-43E5-BDD2-737D5893ED47}">
      <dgm:prSet/>
      <dgm:spPr/>
      <dgm:t>
        <a:bodyPr/>
        <a:lstStyle/>
        <a:p>
          <a:pPr>
            <a:lnSpc>
              <a:spcPct val="100000"/>
            </a:lnSpc>
          </a:pPr>
          <a:endParaRPr lang="ru-RU" sz="1000">
            <a:latin typeface="+mn-lt"/>
          </a:endParaRPr>
        </a:p>
      </dgm:t>
    </dgm:pt>
    <dgm:pt modelId="{69FD0EF5-5E50-458C-9E6E-2592D411B5F7}" type="sibTrans" cxnId="{D85CDE35-7A96-43E5-BDD2-737D5893ED47}">
      <dgm:prSet/>
      <dgm:spPr/>
      <dgm:t>
        <a:bodyPr/>
        <a:lstStyle/>
        <a:p>
          <a:pPr>
            <a:lnSpc>
              <a:spcPct val="100000"/>
            </a:lnSpc>
          </a:pPr>
          <a:endParaRPr lang="ru-RU" sz="1000">
            <a:latin typeface="+mn-lt"/>
          </a:endParaRPr>
        </a:p>
      </dgm:t>
    </dgm:pt>
    <dgm:pt modelId="{3649C4A0-D5C1-40A0-9BD8-AEF05E139625}">
      <dgm:prSet phldrT="[Текст]" custT="1"/>
      <dgm:spPr>
        <a:noFill/>
        <a:ln>
          <a:noFill/>
        </a:ln>
      </dgm:spPr>
      <dgm:t>
        <a:bodyPr/>
        <a:lstStyle/>
        <a:p>
          <a:pPr algn="just">
            <a:lnSpc>
              <a:spcPct val="100000"/>
            </a:lnSpc>
            <a:spcAft>
              <a:spcPts val="0"/>
            </a:spcAft>
          </a:pPr>
          <a:r>
            <a:rPr lang="ru-RU" sz="13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руд-накопитель обеспечивает разбавление загрязняющих веществ поступающих с выпусков сточных вод до норм сброса, установленных для Филиала “Азот” к системе водоотведения ООО «Сток»</a:t>
          </a:r>
        </a:p>
      </dgm:t>
    </dgm:pt>
    <dgm:pt modelId="{9BF18F5C-372D-4F99-B169-EFF5CCA84C9A}" type="parTrans" cxnId="{7C5A0A81-DD21-4B9E-BB14-C1F4C109581E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39EFBEF6-A7B8-41F5-B0C3-061FB5BC015C}" type="sibTrans" cxnId="{7C5A0A81-DD21-4B9E-BB14-C1F4C109581E}">
      <dgm:prSet/>
      <dgm:spPr/>
      <dgm:t>
        <a:bodyPr/>
        <a:lstStyle/>
        <a:p>
          <a:endParaRPr lang="ru-RU">
            <a:latin typeface="+mn-lt"/>
          </a:endParaRPr>
        </a:p>
      </dgm:t>
    </dgm:pt>
    <dgm:pt modelId="{92A13417-794B-4392-A54C-694FE5FAA8E5}">
      <dgm:prSet phldrT="[Текст]" custT="1"/>
      <dgm:spPr>
        <a:noFill/>
        <a:ln>
          <a:noFill/>
        </a:ln>
      </dgm:spPr>
      <dgm:t>
        <a:bodyPr/>
        <a:lstStyle/>
        <a:p>
          <a:pPr algn="just">
            <a:lnSpc>
              <a:spcPct val="100000"/>
            </a:lnSpc>
            <a:spcAft>
              <a:spcPts val="0"/>
            </a:spcAft>
          </a:pPr>
          <a:r>
            <a:rPr lang="ru-RU" sz="13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роектом предусмотрены технические решения для очистки образующихся сточных вод</a:t>
          </a:r>
        </a:p>
      </dgm:t>
    </dgm:pt>
    <dgm:pt modelId="{D10029F3-CC61-4A73-AA28-A5FF8CE878A1}" type="parTrans" cxnId="{FE90D902-F3F2-4558-84D0-74E74A6CEB22}">
      <dgm:prSet/>
      <dgm:spPr/>
      <dgm:t>
        <a:bodyPr/>
        <a:lstStyle/>
        <a:p>
          <a:endParaRPr lang="ru-RU"/>
        </a:p>
      </dgm:t>
    </dgm:pt>
    <dgm:pt modelId="{BEC1AAEF-F50A-492C-91F6-C9DAFF1663F3}" type="sibTrans" cxnId="{FE90D902-F3F2-4558-84D0-74E74A6CEB22}">
      <dgm:prSet/>
      <dgm:spPr/>
      <dgm:t>
        <a:bodyPr/>
        <a:lstStyle/>
        <a:p>
          <a:endParaRPr lang="ru-RU"/>
        </a:p>
      </dgm:t>
    </dgm:pt>
    <dgm:pt modelId="{D02F557B-7848-4630-8655-1059D304CB5A}">
      <dgm:prSet phldrT="[Текст]" custT="1"/>
      <dgm:spPr>
        <a:noFill/>
        <a:ln>
          <a:noFill/>
        </a:ln>
      </dgm:spPr>
      <dgm:t>
        <a:bodyPr/>
        <a:lstStyle/>
        <a:p>
          <a:pPr algn="just">
            <a:lnSpc>
              <a:spcPct val="100000"/>
            </a:lnSpc>
            <a:spcAft>
              <a:spcPts val="0"/>
            </a:spcAft>
          </a:pPr>
          <a:r>
            <a:rPr lang="ru-RU" sz="13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Исследуемая территория по устойчивости относительно карстовых деформаций относится к категории VI (устойчивые территории, образование карстовых деформаций исключается). По интенсивности образования карстовых деформаций: практически неопасная</a:t>
          </a:r>
        </a:p>
      </dgm:t>
    </dgm:pt>
    <dgm:pt modelId="{7007D67E-BB9D-472A-ABA2-6D3276F0C81E}" type="parTrans" cxnId="{4529EB21-1B93-4A36-8EDD-A92E66711089}">
      <dgm:prSet/>
      <dgm:spPr/>
      <dgm:t>
        <a:bodyPr/>
        <a:lstStyle/>
        <a:p>
          <a:endParaRPr lang="ru-RU"/>
        </a:p>
      </dgm:t>
    </dgm:pt>
    <dgm:pt modelId="{84741B45-DC3C-4D6D-A678-289176EDDE55}" type="sibTrans" cxnId="{4529EB21-1B93-4A36-8EDD-A92E66711089}">
      <dgm:prSet/>
      <dgm:spPr/>
      <dgm:t>
        <a:bodyPr/>
        <a:lstStyle/>
        <a:p>
          <a:endParaRPr lang="ru-RU"/>
        </a:p>
      </dgm:t>
    </dgm:pt>
    <dgm:pt modelId="{171951FA-9FD5-4CF6-8533-CE6F2F83DC83}" type="pres">
      <dgm:prSet presAssocID="{3F376A5B-5E50-4CAD-AD6A-FF41F32B9329}" presName="linear" presStyleCnt="0">
        <dgm:presLayoutVars>
          <dgm:dir/>
          <dgm:resizeHandles val="exact"/>
        </dgm:presLayoutVars>
      </dgm:prSet>
      <dgm:spPr/>
    </dgm:pt>
    <dgm:pt modelId="{897FE4C1-F939-4C7C-8064-51C0F3F278E6}" type="pres">
      <dgm:prSet presAssocID="{77D0F318-3A57-497E-BA8B-70C126DFE9BA}" presName="comp" presStyleCnt="0"/>
      <dgm:spPr/>
    </dgm:pt>
    <dgm:pt modelId="{7DAD48AB-EFB1-4F7A-A38F-A23B7FA53541}" type="pres">
      <dgm:prSet presAssocID="{77D0F318-3A57-497E-BA8B-70C126DFE9BA}" presName="box" presStyleLbl="node1" presStyleIdx="0" presStyleCnt="6" custScaleY="62527"/>
      <dgm:spPr/>
    </dgm:pt>
    <dgm:pt modelId="{D5BFB622-BC38-42A7-BE05-041DC3AA7307}" type="pres">
      <dgm:prSet presAssocID="{77D0F318-3A57-497E-BA8B-70C126DFE9BA}" presName="img" presStyleLbl="fgImgPlace1" presStyleIdx="0" presStyleCnt="6" custScaleX="28778" custScaleY="91325" custLinFactNeighborX="473" custLinFactNeighborY="0"/>
      <dgm:spPr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B0E05B58-6BC8-424D-AA91-D01B239BC30A}" type="pres">
      <dgm:prSet presAssocID="{77D0F318-3A57-497E-BA8B-70C126DFE9BA}" presName="text" presStyleLbl="node1" presStyleIdx="0" presStyleCnt="6">
        <dgm:presLayoutVars>
          <dgm:bulletEnabled val="1"/>
        </dgm:presLayoutVars>
      </dgm:prSet>
      <dgm:spPr/>
    </dgm:pt>
    <dgm:pt modelId="{F4EB046A-4603-4C9A-95EF-B74B9E6DAEF8}" type="pres">
      <dgm:prSet presAssocID="{C1869D83-19D6-4FE8-A6F3-04BC71C27081}" presName="spacer" presStyleCnt="0"/>
      <dgm:spPr/>
    </dgm:pt>
    <dgm:pt modelId="{BB46B784-B946-44EC-8BC7-AB60380DDAA3}" type="pres">
      <dgm:prSet presAssocID="{D02F557B-7848-4630-8655-1059D304CB5A}" presName="comp" presStyleCnt="0"/>
      <dgm:spPr/>
    </dgm:pt>
    <dgm:pt modelId="{93476E8C-4D47-4911-8D8D-4E6DE1F6504C}" type="pres">
      <dgm:prSet presAssocID="{D02F557B-7848-4630-8655-1059D304CB5A}" presName="box" presStyleLbl="node1" presStyleIdx="1" presStyleCnt="6"/>
      <dgm:spPr/>
    </dgm:pt>
    <dgm:pt modelId="{795F376C-66C7-48C4-AE3B-37E00A659F66}" type="pres">
      <dgm:prSet presAssocID="{D02F557B-7848-4630-8655-1059D304CB5A}" presName="img" presStyleLbl="fgImgPlace1" presStyleIdx="1" presStyleCnt="6" custScaleX="28778" custScaleY="93659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  <a:ln>
          <a:noFill/>
        </a:ln>
      </dgm:spPr>
    </dgm:pt>
    <dgm:pt modelId="{72B459A2-53EA-4C5C-B593-97F2BA7A072E}" type="pres">
      <dgm:prSet presAssocID="{D02F557B-7848-4630-8655-1059D304CB5A}" presName="text" presStyleLbl="node1" presStyleIdx="1" presStyleCnt="6">
        <dgm:presLayoutVars>
          <dgm:bulletEnabled val="1"/>
        </dgm:presLayoutVars>
      </dgm:prSet>
      <dgm:spPr/>
    </dgm:pt>
    <dgm:pt modelId="{8514EAA7-9F6E-45A5-942A-6C49AD6BA70E}" type="pres">
      <dgm:prSet presAssocID="{84741B45-DC3C-4D6D-A678-289176EDDE55}" presName="spacer" presStyleCnt="0"/>
      <dgm:spPr/>
    </dgm:pt>
    <dgm:pt modelId="{3C97E9E3-E936-4520-B2D1-1E575FA2955E}" type="pres">
      <dgm:prSet presAssocID="{04C18668-B6AE-4654-8224-D798E80A1490}" presName="comp" presStyleCnt="0"/>
      <dgm:spPr/>
    </dgm:pt>
    <dgm:pt modelId="{2487D56F-71C1-4884-9597-666BED5DDEF5}" type="pres">
      <dgm:prSet presAssocID="{04C18668-B6AE-4654-8224-D798E80A1490}" presName="box" presStyleLbl="node1" presStyleIdx="2" presStyleCnt="6" custScaleY="73135"/>
      <dgm:spPr/>
    </dgm:pt>
    <dgm:pt modelId="{609DE065-F963-41D4-911B-30F3C4E70BE6}" type="pres">
      <dgm:prSet presAssocID="{04C18668-B6AE-4654-8224-D798E80A1490}" presName="img" presStyleLbl="fgImgPlace1" presStyleIdx="2" presStyleCnt="6" custScaleX="28778" custScaleY="93659"/>
      <dgm:spPr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  <a:ln>
          <a:noFill/>
        </a:ln>
      </dgm:spPr>
    </dgm:pt>
    <dgm:pt modelId="{F0A9B6EF-0D2E-4B08-96F7-E71A9B44F710}" type="pres">
      <dgm:prSet presAssocID="{04C18668-B6AE-4654-8224-D798E80A1490}" presName="text" presStyleLbl="node1" presStyleIdx="2" presStyleCnt="6">
        <dgm:presLayoutVars>
          <dgm:bulletEnabled val="1"/>
        </dgm:presLayoutVars>
      </dgm:prSet>
      <dgm:spPr/>
    </dgm:pt>
    <dgm:pt modelId="{523D14A5-2A4F-4B4A-9665-DDF67CF1F66F}" type="pres">
      <dgm:prSet presAssocID="{A18AB43B-5355-4981-9376-C38BF8736E82}" presName="spacer" presStyleCnt="0"/>
      <dgm:spPr/>
    </dgm:pt>
    <dgm:pt modelId="{EA7B1B06-AE7B-4120-9A58-768B9A6E3418}" type="pres">
      <dgm:prSet presAssocID="{3649C4A0-D5C1-40A0-9BD8-AEF05E139625}" presName="comp" presStyleCnt="0"/>
      <dgm:spPr/>
    </dgm:pt>
    <dgm:pt modelId="{B0334AA4-01BD-4114-A7D4-AFD7F061EEB6}" type="pres">
      <dgm:prSet presAssocID="{3649C4A0-D5C1-40A0-9BD8-AEF05E139625}" presName="box" presStyleLbl="node1" presStyleIdx="3" presStyleCnt="6" custScaleY="69182"/>
      <dgm:spPr/>
    </dgm:pt>
    <dgm:pt modelId="{78A51A7F-0332-48BD-863E-2071F210658E}" type="pres">
      <dgm:prSet presAssocID="{3649C4A0-D5C1-40A0-9BD8-AEF05E139625}" presName="img" presStyleLbl="fgImgPlace1" presStyleIdx="3" presStyleCnt="6" custScaleX="28778" custScaleY="95235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000" r="-2000"/>
          </a:stretch>
        </a:blipFill>
        <a:ln>
          <a:noFill/>
        </a:ln>
      </dgm:spPr>
    </dgm:pt>
    <dgm:pt modelId="{80D76872-9ED0-4E6C-8105-DA8BCD050810}" type="pres">
      <dgm:prSet presAssocID="{3649C4A0-D5C1-40A0-9BD8-AEF05E139625}" presName="text" presStyleLbl="node1" presStyleIdx="3" presStyleCnt="6">
        <dgm:presLayoutVars>
          <dgm:bulletEnabled val="1"/>
        </dgm:presLayoutVars>
      </dgm:prSet>
      <dgm:spPr/>
    </dgm:pt>
    <dgm:pt modelId="{47768A85-AB71-4A93-A1AD-4C651528FDBC}" type="pres">
      <dgm:prSet presAssocID="{39EFBEF6-A7B8-41F5-B0C3-061FB5BC015C}" presName="spacer" presStyleCnt="0"/>
      <dgm:spPr/>
    </dgm:pt>
    <dgm:pt modelId="{EAB474F9-08CE-4186-8699-23AA10B573D5}" type="pres">
      <dgm:prSet presAssocID="{92A13417-794B-4392-A54C-694FE5FAA8E5}" presName="comp" presStyleCnt="0"/>
      <dgm:spPr/>
    </dgm:pt>
    <dgm:pt modelId="{EA81F73A-055C-4783-9BCA-718BA1673D9E}" type="pres">
      <dgm:prSet presAssocID="{92A13417-794B-4392-A54C-694FE5FAA8E5}" presName="box" presStyleLbl="node1" presStyleIdx="4" presStyleCnt="6"/>
      <dgm:spPr/>
    </dgm:pt>
    <dgm:pt modelId="{09C093C9-4070-4A77-9BA9-EC61D96E16B4}" type="pres">
      <dgm:prSet presAssocID="{92A13417-794B-4392-A54C-694FE5FAA8E5}" presName="img" presStyleLbl="fgImgPlace1" presStyleIdx="4" presStyleCnt="6" custScaleX="28778" custScaleY="93659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7FA92CBB-0BE4-4C77-86CF-D99D1DB442E5}" type="pres">
      <dgm:prSet presAssocID="{92A13417-794B-4392-A54C-694FE5FAA8E5}" presName="text" presStyleLbl="node1" presStyleIdx="4" presStyleCnt="6">
        <dgm:presLayoutVars>
          <dgm:bulletEnabled val="1"/>
        </dgm:presLayoutVars>
      </dgm:prSet>
      <dgm:spPr/>
    </dgm:pt>
    <dgm:pt modelId="{EA6D8221-332F-4BBE-B87B-6F9B92A088C3}" type="pres">
      <dgm:prSet presAssocID="{BEC1AAEF-F50A-492C-91F6-C9DAFF1663F3}" presName="spacer" presStyleCnt="0"/>
      <dgm:spPr/>
    </dgm:pt>
    <dgm:pt modelId="{6FBC76D6-91D2-4284-A585-3D3FE1D3710B}" type="pres">
      <dgm:prSet presAssocID="{9EE85327-AADC-4025-A630-A8E1DEA02FED}" presName="comp" presStyleCnt="0"/>
      <dgm:spPr/>
    </dgm:pt>
    <dgm:pt modelId="{EFBDFF64-5458-4FDC-85BE-5B5C57359D63}" type="pres">
      <dgm:prSet presAssocID="{9EE85327-AADC-4025-A630-A8E1DEA02FED}" presName="box" presStyleLbl="node1" presStyleIdx="5" presStyleCnt="6" custScaleY="61495"/>
      <dgm:spPr/>
    </dgm:pt>
    <dgm:pt modelId="{25AC390D-591B-4834-97B1-1333BF695F32}" type="pres">
      <dgm:prSet presAssocID="{9EE85327-AADC-4025-A630-A8E1DEA02FED}" presName="img" presStyleLbl="fgImgPlace1" presStyleIdx="5" presStyleCnt="6" custScaleX="28778" custScaleY="82168" custLinFactNeighborX="2366" custLinFactNeighborY="7739"/>
      <dgm:spPr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5898D9F1-B582-4492-A5BB-AE9B7246023C}" type="pres">
      <dgm:prSet presAssocID="{9EE85327-AADC-4025-A630-A8E1DEA02FED}" presName="text" presStyleLbl="node1" presStyleIdx="5" presStyleCnt="6">
        <dgm:presLayoutVars>
          <dgm:bulletEnabled val="1"/>
        </dgm:presLayoutVars>
      </dgm:prSet>
      <dgm:spPr/>
    </dgm:pt>
  </dgm:ptLst>
  <dgm:cxnLst>
    <dgm:cxn modelId="{FE90D902-F3F2-4558-84D0-74E74A6CEB22}" srcId="{3F376A5B-5E50-4CAD-AD6A-FF41F32B9329}" destId="{92A13417-794B-4392-A54C-694FE5FAA8E5}" srcOrd="4" destOrd="0" parTransId="{D10029F3-CC61-4A73-AA28-A5FF8CE878A1}" sibTransId="{BEC1AAEF-F50A-492C-91F6-C9DAFF1663F3}"/>
    <dgm:cxn modelId="{F4756919-26F7-42EF-862E-03E1FAEB492D}" type="presOf" srcId="{9EE85327-AADC-4025-A630-A8E1DEA02FED}" destId="{5898D9F1-B582-4492-A5BB-AE9B7246023C}" srcOrd="1" destOrd="0" presId="urn:microsoft.com/office/officeart/2005/8/layout/vList4"/>
    <dgm:cxn modelId="{4A7DA51A-11A3-43F7-909D-F2B76B9CB30C}" srcId="{3F376A5B-5E50-4CAD-AD6A-FF41F32B9329}" destId="{04C18668-B6AE-4654-8224-D798E80A1490}" srcOrd="2" destOrd="0" parTransId="{DCC40AD8-2BD2-4B1A-9AEC-C31ECB6C103B}" sibTransId="{A18AB43B-5355-4981-9376-C38BF8736E82}"/>
    <dgm:cxn modelId="{4DED511B-602D-48AC-ACA7-600BAFE0BE24}" type="presOf" srcId="{04C18668-B6AE-4654-8224-D798E80A1490}" destId="{F0A9B6EF-0D2E-4B08-96F7-E71A9B44F710}" srcOrd="1" destOrd="0" presId="urn:microsoft.com/office/officeart/2005/8/layout/vList4"/>
    <dgm:cxn modelId="{4529EB21-1B93-4A36-8EDD-A92E66711089}" srcId="{3F376A5B-5E50-4CAD-AD6A-FF41F32B9329}" destId="{D02F557B-7848-4630-8655-1059D304CB5A}" srcOrd="1" destOrd="0" parTransId="{7007D67E-BB9D-472A-ABA2-6D3276F0C81E}" sibTransId="{84741B45-DC3C-4D6D-A678-289176EDDE55}"/>
    <dgm:cxn modelId="{D85CDE35-7A96-43E5-BDD2-737D5893ED47}" srcId="{3F376A5B-5E50-4CAD-AD6A-FF41F32B9329}" destId="{9EE85327-AADC-4025-A630-A8E1DEA02FED}" srcOrd="5" destOrd="0" parTransId="{1E6D827A-CCAA-4EA7-BCD1-A805FC3867AE}" sibTransId="{69FD0EF5-5E50-458C-9E6E-2592D411B5F7}"/>
    <dgm:cxn modelId="{E6AAC562-E446-4E9C-AB23-36CA180349AA}" type="presOf" srcId="{D02F557B-7848-4630-8655-1059D304CB5A}" destId="{93476E8C-4D47-4911-8D8D-4E6DE1F6504C}" srcOrd="0" destOrd="0" presId="urn:microsoft.com/office/officeart/2005/8/layout/vList4"/>
    <dgm:cxn modelId="{3FE4DB43-6139-469F-A746-BE010221DD66}" type="presOf" srcId="{3649C4A0-D5C1-40A0-9BD8-AEF05E139625}" destId="{B0334AA4-01BD-4114-A7D4-AFD7F061EEB6}" srcOrd="0" destOrd="0" presId="urn:microsoft.com/office/officeart/2005/8/layout/vList4"/>
    <dgm:cxn modelId="{11F47879-B8A2-4C65-8672-2566C5EC9701}" type="presOf" srcId="{9EE85327-AADC-4025-A630-A8E1DEA02FED}" destId="{EFBDFF64-5458-4FDC-85BE-5B5C57359D63}" srcOrd="0" destOrd="0" presId="urn:microsoft.com/office/officeart/2005/8/layout/vList4"/>
    <dgm:cxn modelId="{4837507F-6379-4153-B289-C7F72FF21F0B}" type="presOf" srcId="{D02F557B-7848-4630-8655-1059D304CB5A}" destId="{72B459A2-53EA-4C5C-B593-97F2BA7A072E}" srcOrd="1" destOrd="0" presId="urn:microsoft.com/office/officeart/2005/8/layout/vList4"/>
    <dgm:cxn modelId="{7EB8927F-2975-45A5-8F62-17950C7B17F2}" type="presOf" srcId="{04C18668-B6AE-4654-8224-D798E80A1490}" destId="{2487D56F-71C1-4884-9597-666BED5DDEF5}" srcOrd="0" destOrd="0" presId="urn:microsoft.com/office/officeart/2005/8/layout/vList4"/>
    <dgm:cxn modelId="{7C5A0A81-DD21-4B9E-BB14-C1F4C109581E}" srcId="{3F376A5B-5E50-4CAD-AD6A-FF41F32B9329}" destId="{3649C4A0-D5C1-40A0-9BD8-AEF05E139625}" srcOrd="3" destOrd="0" parTransId="{9BF18F5C-372D-4F99-B169-EFF5CCA84C9A}" sibTransId="{39EFBEF6-A7B8-41F5-B0C3-061FB5BC015C}"/>
    <dgm:cxn modelId="{66601091-C553-4E5A-AFE1-D0085481160B}" srcId="{3F376A5B-5E50-4CAD-AD6A-FF41F32B9329}" destId="{77D0F318-3A57-497E-BA8B-70C126DFE9BA}" srcOrd="0" destOrd="0" parTransId="{C356E4C0-A4C0-4A40-BF9F-D2937C1F578D}" sibTransId="{C1869D83-19D6-4FE8-A6F3-04BC71C27081}"/>
    <dgm:cxn modelId="{843E6FA4-F2F8-45AD-B401-355242566BFD}" type="presOf" srcId="{92A13417-794B-4392-A54C-694FE5FAA8E5}" destId="{7FA92CBB-0BE4-4C77-86CF-D99D1DB442E5}" srcOrd="1" destOrd="0" presId="urn:microsoft.com/office/officeart/2005/8/layout/vList4"/>
    <dgm:cxn modelId="{826F37BB-0D57-4A96-8528-E377652EB57F}" type="presOf" srcId="{3649C4A0-D5C1-40A0-9BD8-AEF05E139625}" destId="{80D76872-9ED0-4E6C-8105-DA8BCD050810}" srcOrd="1" destOrd="0" presId="urn:microsoft.com/office/officeart/2005/8/layout/vList4"/>
    <dgm:cxn modelId="{A0C5D0D2-8304-4430-A1D6-ADF8CE98BBD7}" type="presOf" srcId="{92A13417-794B-4392-A54C-694FE5FAA8E5}" destId="{EA81F73A-055C-4783-9BCA-718BA1673D9E}" srcOrd="0" destOrd="0" presId="urn:microsoft.com/office/officeart/2005/8/layout/vList4"/>
    <dgm:cxn modelId="{C600BADE-E008-45B9-A947-01AF3AF0473C}" type="presOf" srcId="{77D0F318-3A57-497E-BA8B-70C126DFE9BA}" destId="{7DAD48AB-EFB1-4F7A-A38F-A23B7FA53541}" srcOrd="0" destOrd="0" presId="urn:microsoft.com/office/officeart/2005/8/layout/vList4"/>
    <dgm:cxn modelId="{203AD4EC-B763-4ECB-8E9F-E06DC54DAA4C}" type="presOf" srcId="{77D0F318-3A57-497E-BA8B-70C126DFE9BA}" destId="{B0E05B58-6BC8-424D-AA91-D01B239BC30A}" srcOrd="1" destOrd="0" presId="urn:microsoft.com/office/officeart/2005/8/layout/vList4"/>
    <dgm:cxn modelId="{6D78E1FB-6598-44FB-9BC4-C86999F98701}" type="presOf" srcId="{3F376A5B-5E50-4CAD-AD6A-FF41F32B9329}" destId="{171951FA-9FD5-4CF6-8533-CE6F2F83DC83}" srcOrd="0" destOrd="0" presId="urn:microsoft.com/office/officeart/2005/8/layout/vList4"/>
    <dgm:cxn modelId="{A8BDAB6E-4BD2-4148-92B1-87DFA84BA016}" type="presParOf" srcId="{171951FA-9FD5-4CF6-8533-CE6F2F83DC83}" destId="{897FE4C1-F939-4C7C-8064-51C0F3F278E6}" srcOrd="0" destOrd="0" presId="urn:microsoft.com/office/officeart/2005/8/layout/vList4"/>
    <dgm:cxn modelId="{967B53AC-C509-456B-83AA-64E5F42EE5F0}" type="presParOf" srcId="{897FE4C1-F939-4C7C-8064-51C0F3F278E6}" destId="{7DAD48AB-EFB1-4F7A-A38F-A23B7FA53541}" srcOrd="0" destOrd="0" presId="urn:microsoft.com/office/officeart/2005/8/layout/vList4"/>
    <dgm:cxn modelId="{05654F67-80F4-44BB-889D-E8DFAFF75574}" type="presParOf" srcId="{897FE4C1-F939-4C7C-8064-51C0F3F278E6}" destId="{D5BFB622-BC38-42A7-BE05-041DC3AA7307}" srcOrd="1" destOrd="0" presId="urn:microsoft.com/office/officeart/2005/8/layout/vList4"/>
    <dgm:cxn modelId="{9D677F55-F4C2-4014-847F-C29FA8E69403}" type="presParOf" srcId="{897FE4C1-F939-4C7C-8064-51C0F3F278E6}" destId="{B0E05B58-6BC8-424D-AA91-D01B239BC30A}" srcOrd="2" destOrd="0" presId="urn:microsoft.com/office/officeart/2005/8/layout/vList4"/>
    <dgm:cxn modelId="{E5A96361-123C-4F46-81FE-2E50BFB76201}" type="presParOf" srcId="{171951FA-9FD5-4CF6-8533-CE6F2F83DC83}" destId="{F4EB046A-4603-4C9A-95EF-B74B9E6DAEF8}" srcOrd="1" destOrd="0" presId="urn:microsoft.com/office/officeart/2005/8/layout/vList4"/>
    <dgm:cxn modelId="{DDA78740-E05A-4053-9345-55A2CC47E44E}" type="presParOf" srcId="{171951FA-9FD5-4CF6-8533-CE6F2F83DC83}" destId="{BB46B784-B946-44EC-8BC7-AB60380DDAA3}" srcOrd="2" destOrd="0" presId="urn:microsoft.com/office/officeart/2005/8/layout/vList4"/>
    <dgm:cxn modelId="{AED1422A-8691-47FD-AF82-8C33291FE436}" type="presParOf" srcId="{BB46B784-B946-44EC-8BC7-AB60380DDAA3}" destId="{93476E8C-4D47-4911-8D8D-4E6DE1F6504C}" srcOrd="0" destOrd="0" presId="urn:microsoft.com/office/officeart/2005/8/layout/vList4"/>
    <dgm:cxn modelId="{C5B19366-D289-47F7-8908-4D5BF26520AD}" type="presParOf" srcId="{BB46B784-B946-44EC-8BC7-AB60380DDAA3}" destId="{795F376C-66C7-48C4-AE3B-37E00A659F66}" srcOrd="1" destOrd="0" presId="urn:microsoft.com/office/officeart/2005/8/layout/vList4"/>
    <dgm:cxn modelId="{3EED4B54-302C-4B0B-96EB-4DB6C3F79AE9}" type="presParOf" srcId="{BB46B784-B946-44EC-8BC7-AB60380DDAA3}" destId="{72B459A2-53EA-4C5C-B593-97F2BA7A072E}" srcOrd="2" destOrd="0" presId="urn:microsoft.com/office/officeart/2005/8/layout/vList4"/>
    <dgm:cxn modelId="{1576E106-93C9-4C49-9AEE-120FCD60D5F7}" type="presParOf" srcId="{171951FA-9FD5-4CF6-8533-CE6F2F83DC83}" destId="{8514EAA7-9F6E-45A5-942A-6C49AD6BA70E}" srcOrd="3" destOrd="0" presId="urn:microsoft.com/office/officeart/2005/8/layout/vList4"/>
    <dgm:cxn modelId="{9F217D26-E3FD-48CE-8444-57D9479F05F9}" type="presParOf" srcId="{171951FA-9FD5-4CF6-8533-CE6F2F83DC83}" destId="{3C97E9E3-E936-4520-B2D1-1E575FA2955E}" srcOrd="4" destOrd="0" presId="urn:microsoft.com/office/officeart/2005/8/layout/vList4"/>
    <dgm:cxn modelId="{08BBE422-DD46-4FD1-922C-8E02E239E082}" type="presParOf" srcId="{3C97E9E3-E936-4520-B2D1-1E575FA2955E}" destId="{2487D56F-71C1-4884-9597-666BED5DDEF5}" srcOrd="0" destOrd="0" presId="urn:microsoft.com/office/officeart/2005/8/layout/vList4"/>
    <dgm:cxn modelId="{DD2B6969-1B3F-461D-AD7A-AD0F3093A35F}" type="presParOf" srcId="{3C97E9E3-E936-4520-B2D1-1E575FA2955E}" destId="{609DE065-F963-41D4-911B-30F3C4E70BE6}" srcOrd="1" destOrd="0" presId="urn:microsoft.com/office/officeart/2005/8/layout/vList4"/>
    <dgm:cxn modelId="{11B4356E-5805-4E6B-AC11-7025F235FE4E}" type="presParOf" srcId="{3C97E9E3-E936-4520-B2D1-1E575FA2955E}" destId="{F0A9B6EF-0D2E-4B08-96F7-E71A9B44F710}" srcOrd="2" destOrd="0" presId="urn:microsoft.com/office/officeart/2005/8/layout/vList4"/>
    <dgm:cxn modelId="{0FCA9A85-FCA3-42AB-B134-85222327A6D3}" type="presParOf" srcId="{171951FA-9FD5-4CF6-8533-CE6F2F83DC83}" destId="{523D14A5-2A4F-4B4A-9665-DDF67CF1F66F}" srcOrd="5" destOrd="0" presId="urn:microsoft.com/office/officeart/2005/8/layout/vList4"/>
    <dgm:cxn modelId="{5C7021DF-505C-4C97-B088-827749211405}" type="presParOf" srcId="{171951FA-9FD5-4CF6-8533-CE6F2F83DC83}" destId="{EA7B1B06-AE7B-4120-9A58-768B9A6E3418}" srcOrd="6" destOrd="0" presId="urn:microsoft.com/office/officeart/2005/8/layout/vList4"/>
    <dgm:cxn modelId="{D4C1A13C-A095-4908-9942-4D855790EE2D}" type="presParOf" srcId="{EA7B1B06-AE7B-4120-9A58-768B9A6E3418}" destId="{B0334AA4-01BD-4114-A7D4-AFD7F061EEB6}" srcOrd="0" destOrd="0" presId="urn:microsoft.com/office/officeart/2005/8/layout/vList4"/>
    <dgm:cxn modelId="{5AE10174-A608-4F93-BA72-715FE242BDFC}" type="presParOf" srcId="{EA7B1B06-AE7B-4120-9A58-768B9A6E3418}" destId="{78A51A7F-0332-48BD-863E-2071F210658E}" srcOrd="1" destOrd="0" presId="urn:microsoft.com/office/officeart/2005/8/layout/vList4"/>
    <dgm:cxn modelId="{4EE3F081-B187-4797-90E7-615B7EE2937A}" type="presParOf" srcId="{EA7B1B06-AE7B-4120-9A58-768B9A6E3418}" destId="{80D76872-9ED0-4E6C-8105-DA8BCD050810}" srcOrd="2" destOrd="0" presId="urn:microsoft.com/office/officeart/2005/8/layout/vList4"/>
    <dgm:cxn modelId="{0BD78F7D-30E5-4DFD-80D2-A8C9E7C7D2A9}" type="presParOf" srcId="{171951FA-9FD5-4CF6-8533-CE6F2F83DC83}" destId="{47768A85-AB71-4A93-A1AD-4C651528FDBC}" srcOrd="7" destOrd="0" presId="urn:microsoft.com/office/officeart/2005/8/layout/vList4"/>
    <dgm:cxn modelId="{2A787429-8CBA-4158-BAA0-63D6785B28A0}" type="presParOf" srcId="{171951FA-9FD5-4CF6-8533-CE6F2F83DC83}" destId="{EAB474F9-08CE-4186-8699-23AA10B573D5}" srcOrd="8" destOrd="0" presId="urn:microsoft.com/office/officeart/2005/8/layout/vList4"/>
    <dgm:cxn modelId="{401BA9D8-6F81-4B8D-B4BC-8D1E48D90C06}" type="presParOf" srcId="{EAB474F9-08CE-4186-8699-23AA10B573D5}" destId="{EA81F73A-055C-4783-9BCA-718BA1673D9E}" srcOrd="0" destOrd="0" presId="urn:microsoft.com/office/officeart/2005/8/layout/vList4"/>
    <dgm:cxn modelId="{BB70BCA8-E8F7-4ADB-98F0-6C146AAC8C08}" type="presParOf" srcId="{EAB474F9-08CE-4186-8699-23AA10B573D5}" destId="{09C093C9-4070-4A77-9BA9-EC61D96E16B4}" srcOrd="1" destOrd="0" presId="urn:microsoft.com/office/officeart/2005/8/layout/vList4"/>
    <dgm:cxn modelId="{F4AD2EE4-60DD-4035-B2F8-2FBF22DF97C4}" type="presParOf" srcId="{EAB474F9-08CE-4186-8699-23AA10B573D5}" destId="{7FA92CBB-0BE4-4C77-86CF-D99D1DB442E5}" srcOrd="2" destOrd="0" presId="urn:microsoft.com/office/officeart/2005/8/layout/vList4"/>
    <dgm:cxn modelId="{8620354F-0CE7-42F8-90F7-26D6011DFFC2}" type="presParOf" srcId="{171951FA-9FD5-4CF6-8533-CE6F2F83DC83}" destId="{EA6D8221-332F-4BBE-B87B-6F9B92A088C3}" srcOrd="9" destOrd="0" presId="urn:microsoft.com/office/officeart/2005/8/layout/vList4"/>
    <dgm:cxn modelId="{7597A750-1753-48F5-A163-3F6143905E21}" type="presParOf" srcId="{171951FA-9FD5-4CF6-8533-CE6F2F83DC83}" destId="{6FBC76D6-91D2-4284-A585-3D3FE1D3710B}" srcOrd="10" destOrd="0" presId="urn:microsoft.com/office/officeart/2005/8/layout/vList4"/>
    <dgm:cxn modelId="{005539BD-C11C-47C2-86D1-01449E5B88F1}" type="presParOf" srcId="{6FBC76D6-91D2-4284-A585-3D3FE1D3710B}" destId="{EFBDFF64-5458-4FDC-85BE-5B5C57359D63}" srcOrd="0" destOrd="0" presId="urn:microsoft.com/office/officeart/2005/8/layout/vList4"/>
    <dgm:cxn modelId="{53136E76-7503-405A-9204-D154A759AE52}" type="presParOf" srcId="{6FBC76D6-91D2-4284-A585-3D3FE1D3710B}" destId="{25AC390D-591B-4834-97B1-1333BF695F32}" srcOrd="1" destOrd="0" presId="urn:microsoft.com/office/officeart/2005/8/layout/vList4"/>
    <dgm:cxn modelId="{95C97ADC-9471-4F23-8CAB-DECB2110B2AE}" type="presParOf" srcId="{6FBC76D6-91D2-4284-A585-3D3FE1D3710B}" destId="{5898D9F1-B582-4492-A5BB-AE9B7246023C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972623-8F3F-4FC2-B104-7070E0325B3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5C2ACD9-AD27-4629-BBB7-F82E0EFA3B9C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2000" b="1" dirty="0">
              <a:solidFill>
                <a:srgbClr val="14446C"/>
              </a:solidFill>
            </a:rPr>
            <a:t>Площадка 1</a:t>
          </a:r>
        </a:p>
      </dgm:t>
    </dgm:pt>
    <dgm:pt modelId="{23F7749C-EC9E-45E5-BE0A-C2F640E1BCDF}" type="parTrans" cxnId="{05D286BF-9D40-40C7-82FB-F3C3BD057D07}">
      <dgm:prSet/>
      <dgm:spPr/>
      <dgm:t>
        <a:bodyPr/>
        <a:lstStyle/>
        <a:p>
          <a:endParaRPr lang="ru-RU" sz="1200"/>
        </a:p>
      </dgm:t>
    </dgm:pt>
    <dgm:pt modelId="{681E4249-84D3-4201-A95E-58C8A018D1D8}" type="sibTrans" cxnId="{05D286BF-9D40-40C7-82FB-F3C3BD057D07}">
      <dgm:prSet/>
      <dgm:spPr/>
      <dgm:t>
        <a:bodyPr/>
        <a:lstStyle/>
        <a:p>
          <a:endParaRPr lang="ru-RU" sz="1200"/>
        </a:p>
      </dgm:t>
    </dgm:pt>
    <dgm:pt modelId="{BFE2F8FC-9763-4D96-9702-6C7DBD00AFD8}">
      <dgm:prSet phldrT="[Текст]" custT="1"/>
      <dgm:spPr>
        <a:noFill/>
        <a:ln>
          <a:noFill/>
        </a:ln>
      </dgm:spPr>
      <dgm:t>
        <a:bodyPr/>
        <a:lstStyle/>
        <a:p>
          <a:pPr algn="l"/>
          <a:r>
            <a:rPr lang="ru-RU" sz="2000" b="1" dirty="0">
              <a:solidFill>
                <a:srgbClr val="14446C"/>
              </a:solidFill>
            </a:rPr>
            <a:t>Площадка 2</a:t>
          </a:r>
        </a:p>
      </dgm:t>
    </dgm:pt>
    <dgm:pt modelId="{F45516CF-A605-4042-B77E-516094D79B16}" type="parTrans" cxnId="{7C4599C4-081A-4733-92C5-60A0426CCBF1}">
      <dgm:prSet/>
      <dgm:spPr/>
      <dgm:t>
        <a:bodyPr/>
        <a:lstStyle/>
        <a:p>
          <a:endParaRPr lang="ru-RU" sz="1200"/>
        </a:p>
      </dgm:t>
    </dgm:pt>
    <dgm:pt modelId="{56203AAF-AE20-4F69-9649-0BCD28036C22}" type="sibTrans" cxnId="{7C4599C4-081A-4733-92C5-60A0426CCBF1}">
      <dgm:prSet/>
      <dgm:spPr/>
      <dgm:t>
        <a:bodyPr/>
        <a:lstStyle/>
        <a:p>
          <a:endParaRPr lang="ru-RU" sz="1200"/>
        </a:p>
      </dgm:t>
    </dgm:pt>
    <dgm:pt modelId="{45E77BB9-F1B3-44FE-94E9-14D25412A845}">
      <dgm:prSet phldrT="[Текст]" custT="1"/>
      <dgm:spPr/>
      <dgm:t>
        <a:bodyPr/>
        <a:lstStyle/>
        <a:p>
          <a:r>
            <a:rPr lang="ru-RU" sz="1200" b="0" dirty="0">
              <a:solidFill>
                <a:schemeClr val="accent4"/>
              </a:solidFill>
            </a:rPr>
            <a:t>Трасса К3н от КНС-3 до пруда-накопителя, 1 линия 1620 м</a:t>
          </a:r>
          <a:endParaRPr lang="ru-RU" sz="1200" dirty="0">
            <a:solidFill>
              <a:schemeClr val="accent4"/>
            </a:solidFill>
          </a:endParaRPr>
        </a:p>
      </dgm:t>
    </dgm:pt>
    <dgm:pt modelId="{C205EED3-84CC-4EB2-9DDE-5E74FCD00CF1}" type="parTrans" cxnId="{D1DEFF01-5406-433C-B85F-059AD372CE57}">
      <dgm:prSet/>
      <dgm:spPr/>
      <dgm:t>
        <a:bodyPr/>
        <a:lstStyle/>
        <a:p>
          <a:endParaRPr lang="ru-RU" sz="1200"/>
        </a:p>
      </dgm:t>
    </dgm:pt>
    <dgm:pt modelId="{90E64C83-48AC-47B9-B5F4-369098309080}" type="sibTrans" cxnId="{D1DEFF01-5406-433C-B85F-059AD372CE57}">
      <dgm:prSet/>
      <dgm:spPr/>
      <dgm:t>
        <a:bodyPr/>
        <a:lstStyle/>
        <a:p>
          <a:endParaRPr lang="ru-RU" sz="1200"/>
        </a:p>
      </dgm:t>
    </dgm:pt>
    <dgm:pt modelId="{3887E07D-ED21-493E-B6FF-44BFA9AFD6AF}">
      <dgm:prSet custT="1"/>
      <dgm:spPr/>
      <dgm:t>
        <a:bodyPr/>
        <a:lstStyle/>
        <a:p>
          <a:r>
            <a:rPr lang="ru-RU" sz="1200" b="0" dirty="0">
              <a:solidFill>
                <a:schemeClr val="accent4"/>
              </a:solidFill>
            </a:rPr>
            <a:t>Трасса К3н от КНС-3 до пруда-накопителя, 2 линия 1625 м</a:t>
          </a:r>
        </a:p>
      </dgm:t>
    </dgm:pt>
    <dgm:pt modelId="{AA8B2A4A-7A3C-44C1-A25D-4BD88F082A1A}" type="parTrans" cxnId="{B0360161-8E4C-464A-94E6-A4DCF5F16148}">
      <dgm:prSet/>
      <dgm:spPr/>
      <dgm:t>
        <a:bodyPr/>
        <a:lstStyle/>
        <a:p>
          <a:endParaRPr lang="ru-RU" sz="1200"/>
        </a:p>
      </dgm:t>
    </dgm:pt>
    <dgm:pt modelId="{0B62A1A2-0BE1-46C1-98F0-465B55A05DDC}" type="sibTrans" cxnId="{B0360161-8E4C-464A-94E6-A4DCF5F16148}">
      <dgm:prSet/>
      <dgm:spPr/>
      <dgm:t>
        <a:bodyPr/>
        <a:lstStyle/>
        <a:p>
          <a:endParaRPr lang="ru-RU" sz="1200"/>
        </a:p>
      </dgm:t>
    </dgm:pt>
    <dgm:pt modelId="{EF36F220-46EF-4E19-8BF5-66BC60CE8082}">
      <dgm:prSet custT="1"/>
      <dgm:spPr/>
      <dgm:t>
        <a:bodyPr/>
        <a:lstStyle/>
        <a:p>
          <a:r>
            <a:rPr lang="ru-RU" sz="1200" b="0" dirty="0">
              <a:solidFill>
                <a:schemeClr val="accent4"/>
              </a:solidFill>
            </a:rPr>
            <a:t>Сухая камера задвижек</a:t>
          </a:r>
        </a:p>
      </dgm:t>
    </dgm:pt>
    <dgm:pt modelId="{817AE01E-7F6A-46C5-8E4C-689570D45514}" type="parTrans" cxnId="{890F20B5-FDC5-4D03-88F8-6783A65B6A17}">
      <dgm:prSet/>
      <dgm:spPr/>
      <dgm:t>
        <a:bodyPr/>
        <a:lstStyle/>
        <a:p>
          <a:endParaRPr lang="ru-RU" sz="1200"/>
        </a:p>
      </dgm:t>
    </dgm:pt>
    <dgm:pt modelId="{5BBB0751-94FD-453B-9482-861F8CAE128A}" type="sibTrans" cxnId="{890F20B5-FDC5-4D03-88F8-6783A65B6A17}">
      <dgm:prSet/>
      <dgm:spPr/>
      <dgm:t>
        <a:bodyPr/>
        <a:lstStyle/>
        <a:p>
          <a:endParaRPr lang="ru-RU" sz="1200"/>
        </a:p>
      </dgm:t>
    </dgm:pt>
    <dgm:pt modelId="{952761BC-DBA3-4BED-A43A-91146E0F9C43}">
      <dgm:prSet custT="1"/>
      <dgm:spPr/>
      <dgm:t>
        <a:bodyPr/>
        <a:lstStyle/>
        <a:p>
          <a:r>
            <a:rPr lang="ru-RU" sz="1200" b="0" dirty="0">
              <a:solidFill>
                <a:schemeClr val="accent4"/>
              </a:solidFill>
            </a:rPr>
            <a:t>Водосборный приямок </a:t>
          </a:r>
        </a:p>
      </dgm:t>
    </dgm:pt>
    <dgm:pt modelId="{0978B351-C3F0-48C9-94F9-DC5D5A1355E9}" type="parTrans" cxnId="{AEBDB9D4-D94B-40B2-876B-CE215C4C77AC}">
      <dgm:prSet/>
      <dgm:spPr/>
      <dgm:t>
        <a:bodyPr/>
        <a:lstStyle/>
        <a:p>
          <a:endParaRPr lang="ru-RU" sz="1200"/>
        </a:p>
      </dgm:t>
    </dgm:pt>
    <dgm:pt modelId="{F685AED1-9B61-4B6A-A54E-BBB11181F9D5}" type="sibTrans" cxnId="{AEBDB9D4-D94B-40B2-876B-CE215C4C77AC}">
      <dgm:prSet/>
      <dgm:spPr/>
      <dgm:t>
        <a:bodyPr/>
        <a:lstStyle/>
        <a:p>
          <a:endParaRPr lang="ru-RU" sz="1200"/>
        </a:p>
      </dgm:t>
    </dgm:pt>
    <dgm:pt modelId="{C4245823-B006-4E5D-921E-AE370A223CD8}">
      <dgm:prSet custT="1"/>
      <dgm:spPr/>
      <dgm:t>
        <a:bodyPr/>
        <a:lstStyle/>
        <a:p>
          <a:r>
            <a:rPr lang="ru-RU" sz="1200" b="0" dirty="0">
              <a:solidFill>
                <a:schemeClr val="accent4"/>
              </a:solidFill>
            </a:rPr>
            <a:t>Главная насосная станция ГНС-2</a:t>
          </a:r>
        </a:p>
      </dgm:t>
    </dgm:pt>
    <dgm:pt modelId="{E7C02C28-BD34-45B4-AEF5-C2DE3DE91B29}" type="parTrans" cxnId="{E55BF205-1D7D-44CE-AF0C-5896D7B907F5}">
      <dgm:prSet/>
      <dgm:spPr/>
      <dgm:t>
        <a:bodyPr/>
        <a:lstStyle/>
        <a:p>
          <a:endParaRPr lang="ru-RU" sz="1200"/>
        </a:p>
      </dgm:t>
    </dgm:pt>
    <dgm:pt modelId="{EF5774B4-CE6D-4E8F-AAD2-DCB9EF7E44AF}" type="sibTrans" cxnId="{E55BF205-1D7D-44CE-AF0C-5896D7B907F5}">
      <dgm:prSet/>
      <dgm:spPr/>
      <dgm:t>
        <a:bodyPr/>
        <a:lstStyle/>
        <a:p>
          <a:endParaRPr lang="ru-RU" sz="1200"/>
        </a:p>
      </dgm:t>
    </dgm:pt>
    <dgm:pt modelId="{EADF0B21-3A3A-4FA1-AB37-5D2B0FEB0201}">
      <dgm:prSet custT="1"/>
      <dgm:spPr/>
      <dgm:t>
        <a:bodyPr/>
        <a:lstStyle/>
        <a:p>
          <a:r>
            <a:rPr lang="ru-RU" sz="1200" b="0" dirty="0">
              <a:solidFill>
                <a:schemeClr val="accent4"/>
              </a:solidFill>
            </a:rPr>
            <a:t>Трасса К3н от ГНС-2 до точки выпуска №5 433 м</a:t>
          </a:r>
        </a:p>
      </dgm:t>
    </dgm:pt>
    <dgm:pt modelId="{F15B0EA0-5160-4358-8763-AC01442E6425}" type="parTrans" cxnId="{F787D477-8413-4522-ABA1-67EF0CD61839}">
      <dgm:prSet/>
      <dgm:spPr/>
      <dgm:t>
        <a:bodyPr/>
        <a:lstStyle/>
        <a:p>
          <a:endParaRPr lang="ru-RU" sz="1200"/>
        </a:p>
      </dgm:t>
    </dgm:pt>
    <dgm:pt modelId="{AB2C8874-AF1A-4F8D-BAB6-1F359E55516B}" type="sibTrans" cxnId="{F787D477-8413-4522-ABA1-67EF0CD61839}">
      <dgm:prSet/>
      <dgm:spPr/>
      <dgm:t>
        <a:bodyPr/>
        <a:lstStyle/>
        <a:p>
          <a:endParaRPr lang="ru-RU" sz="1200"/>
        </a:p>
      </dgm:t>
    </dgm:pt>
    <dgm:pt modelId="{138C0621-D092-43A8-98E6-F4D9ED7413E0}">
      <dgm:prSet custT="1"/>
      <dgm:spPr/>
      <dgm:t>
        <a:bodyPr/>
        <a:lstStyle/>
        <a:p>
          <a:r>
            <a:rPr lang="ru-RU" sz="1200" b="0" dirty="0">
              <a:solidFill>
                <a:schemeClr val="accent4"/>
              </a:solidFill>
            </a:rPr>
            <a:t>Трасса К3н от ГНС-2 до точки выпуска №6 430 м</a:t>
          </a:r>
          <a:endParaRPr lang="ru-RU" sz="1200" dirty="0">
            <a:solidFill>
              <a:schemeClr val="accent4"/>
            </a:solidFill>
          </a:endParaRPr>
        </a:p>
      </dgm:t>
    </dgm:pt>
    <dgm:pt modelId="{26A47611-75F6-43E8-BD4F-1DCC8F3886D3}" type="parTrans" cxnId="{20226295-C1EF-4C2D-B121-2C66B879CC6D}">
      <dgm:prSet/>
      <dgm:spPr/>
      <dgm:t>
        <a:bodyPr/>
        <a:lstStyle/>
        <a:p>
          <a:endParaRPr lang="ru-RU" sz="1200"/>
        </a:p>
      </dgm:t>
    </dgm:pt>
    <dgm:pt modelId="{E90804B1-11A5-4F31-BA34-9B6C64F56375}" type="sibTrans" cxnId="{20226295-C1EF-4C2D-B121-2C66B879CC6D}">
      <dgm:prSet/>
      <dgm:spPr/>
      <dgm:t>
        <a:bodyPr/>
        <a:lstStyle/>
        <a:p>
          <a:endParaRPr lang="ru-RU" sz="1200"/>
        </a:p>
      </dgm:t>
    </dgm:pt>
    <dgm:pt modelId="{14EC0C7C-65AB-4032-814D-0C0F945A54F3}">
      <dgm:prSet phldrT="[Текст]" custT="1"/>
      <dgm:spPr/>
      <dgm:t>
        <a:bodyPr/>
        <a:lstStyle/>
        <a:p>
          <a:r>
            <a:rPr lang="ru-RU" sz="1200" dirty="0"/>
            <a:t>КНС-3</a:t>
          </a:r>
        </a:p>
      </dgm:t>
    </dgm:pt>
    <dgm:pt modelId="{548CB4E1-4B93-42B7-92F2-F0AB98169309}" type="parTrans" cxnId="{A1BBD131-5E5A-4388-AEC7-2303F439F387}">
      <dgm:prSet/>
      <dgm:spPr/>
      <dgm:t>
        <a:bodyPr/>
        <a:lstStyle/>
        <a:p>
          <a:endParaRPr lang="ru-RU"/>
        </a:p>
      </dgm:t>
    </dgm:pt>
    <dgm:pt modelId="{FDD3C10B-5DA8-42FD-8A56-F773703950FD}" type="sibTrans" cxnId="{A1BBD131-5E5A-4388-AEC7-2303F439F387}">
      <dgm:prSet/>
      <dgm:spPr/>
      <dgm:t>
        <a:bodyPr/>
        <a:lstStyle/>
        <a:p>
          <a:endParaRPr lang="ru-RU"/>
        </a:p>
      </dgm:t>
    </dgm:pt>
    <dgm:pt modelId="{691D81F5-8BCC-4F3E-B818-9FFCEB4B2170}" type="pres">
      <dgm:prSet presAssocID="{C5972623-8F3F-4FC2-B104-7070E0325B39}" presName="linear" presStyleCnt="0">
        <dgm:presLayoutVars>
          <dgm:animLvl val="lvl"/>
          <dgm:resizeHandles val="exact"/>
        </dgm:presLayoutVars>
      </dgm:prSet>
      <dgm:spPr/>
    </dgm:pt>
    <dgm:pt modelId="{8E10472E-66B2-4523-8E48-0C72ACDC6C3E}" type="pres">
      <dgm:prSet presAssocID="{95C2ACD9-AD27-4629-BBB7-F82E0EFA3B9C}" presName="parentText" presStyleLbl="node1" presStyleIdx="0" presStyleCnt="2" custScaleX="82192" custScaleY="47289">
        <dgm:presLayoutVars>
          <dgm:chMax val="0"/>
          <dgm:bulletEnabled val="1"/>
        </dgm:presLayoutVars>
      </dgm:prSet>
      <dgm:spPr/>
    </dgm:pt>
    <dgm:pt modelId="{C2F14CEE-B158-411F-BF94-40AA52A8ABF7}" type="pres">
      <dgm:prSet presAssocID="{95C2ACD9-AD27-4629-BBB7-F82E0EFA3B9C}" presName="childText" presStyleLbl="revTx" presStyleIdx="0" presStyleCnt="2" custScaleX="94517" custLinFactNeighborX="9214" custLinFactNeighborY="4090">
        <dgm:presLayoutVars>
          <dgm:bulletEnabled val="1"/>
        </dgm:presLayoutVars>
      </dgm:prSet>
      <dgm:spPr/>
    </dgm:pt>
    <dgm:pt modelId="{FE0C03F4-EEF0-4C60-BF54-F6DB85A422FE}" type="pres">
      <dgm:prSet presAssocID="{BFE2F8FC-9763-4D96-9702-6C7DBD00AFD8}" presName="parentText" presStyleLbl="node1" presStyleIdx="1" presStyleCnt="2" custScaleX="82192" custScaleY="47289" custLinFactNeighborX="-405" custLinFactNeighborY="38513">
        <dgm:presLayoutVars>
          <dgm:chMax val="0"/>
          <dgm:bulletEnabled val="1"/>
        </dgm:presLayoutVars>
      </dgm:prSet>
      <dgm:spPr/>
    </dgm:pt>
    <dgm:pt modelId="{4BE078EB-ED29-41D1-A7CB-299D63E8D71D}" type="pres">
      <dgm:prSet presAssocID="{BFE2F8FC-9763-4D96-9702-6C7DBD00AFD8}" presName="childText" presStyleLbl="revTx" presStyleIdx="1" presStyleCnt="2" custScaleX="93693" custLinFactNeighborX="1453" custLinFactNeighborY="38603">
        <dgm:presLayoutVars>
          <dgm:bulletEnabled val="1"/>
        </dgm:presLayoutVars>
      </dgm:prSet>
      <dgm:spPr/>
    </dgm:pt>
  </dgm:ptLst>
  <dgm:cxnLst>
    <dgm:cxn modelId="{D1DEFF01-5406-433C-B85F-059AD372CE57}" srcId="{95C2ACD9-AD27-4629-BBB7-F82E0EFA3B9C}" destId="{45E77BB9-F1B3-44FE-94E9-14D25412A845}" srcOrd="0" destOrd="0" parTransId="{C205EED3-84CC-4EB2-9DDE-5E74FCD00CF1}" sibTransId="{90E64C83-48AC-47B9-B5F4-369098309080}"/>
    <dgm:cxn modelId="{E55BF205-1D7D-44CE-AF0C-5896D7B907F5}" srcId="{95C2ACD9-AD27-4629-BBB7-F82E0EFA3B9C}" destId="{C4245823-B006-4E5D-921E-AE370A223CD8}" srcOrd="4" destOrd="0" parTransId="{E7C02C28-BD34-45B4-AEF5-C2DE3DE91B29}" sibTransId="{EF5774B4-CE6D-4E8F-AAD2-DCB9EF7E44AF}"/>
    <dgm:cxn modelId="{DAD9B90E-78C1-4535-8116-1202EF0456D2}" type="presOf" srcId="{95C2ACD9-AD27-4629-BBB7-F82E0EFA3B9C}" destId="{8E10472E-66B2-4523-8E48-0C72ACDC6C3E}" srcOrd="0" destOrd="0" presId="urn:microsoft.com/office/officeart/2005/8/layout/vList2"/>
    <dgm:cxn modelId="{A1BBD131-5E5A-4388-AEC7-2303F439F387}" srcId="{BFE2F8FC-9763-4D96-9702-6C7DBD00AFD8}" destId="{14EC0C7C-65AB-4032-814D-0C0F945A54F3}" srcOrd="0" destOrd="0" parTransId="{548CB4E1-4B93-42B7-92F2-F0AB98169309}" sibTransId="{FDD3C10B-5DA8-42FD-8A56-F773703950FD}"/>
    <dgm:cxn modelId="{B0360161-8E4C-464A-94E6-A4DCF5F16148}" srcId="{95C2ACD9-AD27-4629-BBB7-F82E0EFA3B9C}" destId="{3887E07D-ED21-493E-B6FF-44BFA9AFD6AF}" srcOrd="1" destOrd="0" parTransId="{AA8B2A4A-7A3C-44C1-A25D-4BD88F082A1A}" sibTransId="{0B62A1A2-0BE1-46C1-98F0-465B55A05DDC}"/>
    <dgm:cxn modelId="{6C4D2A4C-C966-4060-A1C6-4DA1D9A5EEA2}" type="presOf" srcId="{45E77BB9-F1B3-44FE-94E9-14D25412A845}" destId="{C2F14CEE-B158-411F-BF94-40AA52A8ABF7}" srcOrd="0" destOrd="0" presId="urn:microsoft.com/office/officeart/2005/8/layout/vList2"/>
    <dgm:cxn modelId="{F787D477-8413-4522-ABA1-67EF0CD61839}" srcId="{95C2ACD9-AD27-4629-BBB7-F82E0EFA3B9C}" destId="{EADF0B21-3A3A-4FA1-AB37-5D2B0FEB0201}" srcOrd="5" destOrd="0" parTransId="{F15B0EA0-5160-4358-8763-AC01442E6425}" sibTransId="{AB2C8874-AF1A-4F8D-BAB6-1F359E55516B}"/>
    <dgm:cxn modelId="{0F7EEC5A-C87D-49AB-8D18-57D07D97CDF0}" type="presOf" srcId="{14EC0C7C-65AB-4032-814D-0C0F945A54F3}" destId="{4BE078EB-ED29-41D1-A7CB-299D63E8D71D}" srcOrd="0" destOrd="0" presId="urn:microsoft.com/office/officeart/2005/8/layout/vList2"/>
    <dgm:cxn modelId="{51ECDA89-782A-45C3-BCE5-72359EF57C6C}" type="presOf" srcId="{BFE2F8FC-9763-4D96-9702-6C7DBD00AFD8}" destId="{FE0C03F4-EEF0-4C60-BF54-F6DB85A422FE}" srcOrd="0" destOrd="0" presId="urn:microsoft.com/office/officeart/2005/8/layout/vList2"/>
    <dgm:cxn modelId="{20226295-C1EF-4C2D-B121-2C66B879CC6D}" srcId="{95C2ACD9-AD27-4629-BBB7-F82E0EFA3B9C}" destId="{138C0621-D092-43A8-98E6-F4D9ED7413E0}" srcOrd="6" destOrd="0" parTransId="{26A47611-75F6-43E8-BD4F-1DCC8F3886D3}" sibTransId="{E90804B1-11A5-4F31-BA34-9B6C64F56375}"/>
    <dgm:cxn modelId="{A0E254AA-91E9-4702-8D3F-3F1F736151EB}" type="presOf" srcId="{C4245823-B006-4E5D-921E-AE370A223CD8}" destId="{C2F14CEE-B158-411F-BF94-40AA52A8ABF7}" srcOrd="0" destOrd="4" presId="urn:microsoft.com/office/officeart/2005/8/layout/vList2"/>
    <dgm:cxn modelId="{4296E4B4-399F-47F2-B0FD-5937C6A1A65B}" type="presOf" srcId="{952761BC-DBA3-4BED-A43A-91146E0F9C43}" destId="{C2F14CEE-B158-411F-BF94-40AA52A8ABF7}" srcOrd="0" destOrd="3" presId="urn:microsoft.com/office/officeart/2005/8/layout/vList2"/>
    <dgm:cxn modelId="{890F20B5-FDC5-4D03-88F8-6783A65B6A17}" srcId="{95C2ACD9-AD27-4629-BBB7-F82E0EFA3B9C}" destId="{EF36F220-46EF-4E19-8BF5-66BC60CE8082}" srcOrd="2" destOrd="0" parTransId="{817AE01E-7F6A-46C5-8E4C-689570D45514}" sibTransId="{5BBB0751-94FD-453B-9482-861F8CAE128A}"/>
    <dgm:cxn modelId="{14D4B8B7-618D-48FB-BB73-0207C117698D}" type="presOf" srcId="{EF36F220-46EF-4E19-8BF5-66BC60CE8082}" destId="{C2F14CEE-B158-411F-BF94-40AA52A8ABF7}" srcOrd="0" destOrd="2" presId="urn:microsoft.com/office/officeart/2005/8/layout/vList2"/>
    <dgm:cxn modelId="{05D286BF-9D40-40C7-82FB-F3C3BD057D07}" srcId="{C5972623-8F3F-4FC2-B104-7070E0325B39}" destId="{95C2ACD9-AD27-4629-BBB7-F82E0EFA3B9C}" srcOrd="0" destOrd="0" parTransId="{23F7749C-EC9E-45E5-BE0A-C2F640E1BCDF}" sibTransId="{681E4249-84D3-4201-A95E-58C8A018D1D8}"/>
    <dgm:cxn modelId="{FD3E50C1-7805-4B59-950A-B7AFFDDA43AF}" type="presOf" srcId="{C5972623-8F3F-4FC2-B104-7070E0325B39}" destId="{691D81F5-8BCC-4F3E-B818-9FFCEB4B2170}" srcOrd="0" destOrd="0" presId="urn:microsoft.com/office/officeart/2005/8/layout/vList2"/>
    <dgm:cxn modelId="{7C4599C4-081A-4733-92C5-60A0426CCBF1}" srcId="{C5972623-8F3F-4FC2-B104-7070E0325B39}" destId="{BFE2F8FC-9763-4D96-9702-6C7DBD00AFD8}" srcOrd="1" destOrd="0" parTransId="{F45516CF-A605-4042-B77E-516094D79B16}" sibTransId="{56203AAF-AE20-4F69-9649-0BCD28036C22}"/>
    <dgm:cxn modelId="{AEBDB9D4-D94B-40B2-876B-CE215C4C77AC}" srcId="{95C2ACD9-AD27-4629-BBB7-F82E0EFA3B9C}" destId="{952761BC-DBA3-4BED-A43A-91146E0F9C43}" srcOrd="3" destOrd="0" parTransId="{0978B351-C3F0-48C9-94F9-DC5D5A1355E9}" sibTransId="{F685AED1-9B61-4B6A-A54E-BBB11181F9D5}"/>
    <dgm:cxn modelId="{6230E3DD-2907-4857-9A11-583B8F2DA81A}" type="presOf" srcId="{3887E07D-ED21-493E-B6FF-44BFA9AFD6AF}" destId="{C2F14CEE-B158-411F-BF94-40AA52A8ABF7}" srcOrd="0" destOrd="1" presId="urn:microsoft.com/office/officeart/2005/8/layout/vList2"/>
    <dgm:cxn modelId="{9E011EFC-B842-4C00-B81D-9B78886470B1}" type="presOf" srcId="{EADF0B21-3A3A-4FA1-AB37-5D2B0FEB0201}" destId="{C2F14CEE-B158-411F-BF94-40AA52A8ABF7}" srcOrd="0" destOrd="5" presId="urn:microsoft.com/office/officeart/2005/8/layout/vList2"/>
    <dgm:cxn modelId="{BF2886FC-33A2-4D42-B744-1744E3FCFEE9}" type="presOf" srcId="{138C0621-D092-43A8-98E6-F4D9ED7413E0}" destId="{C2F14CEE-B158-411F-BF94-40AA52A8ABF7}" srcOrd="0" destOrd="6" presId="urn:microsoft.com/office/officeart/2005/8/layout/vList2"/>
    <dgm:cxn modelId="{4217DFB0-9E33-42BD-ACA7-0C8B071D0CB2}" type="presParOf" srcId="{691D81F5-8BCC-4F3E-B818-9FFCEB4B2170}" destId="{8E10472E-66B2-4523-8E48-0C72ACDC6C3E}" srcOrd="0" destOrd="0" presId="urn:microsoft.com/office/officeart/2005/8/layout/vList2"/>
    <dgm:cxn modelId="{76FE6DDF-E597-4960-9EBE-6F445605CA29}" type="presParOf" srcId="{691D81F5-8BCC-4F3E-B818-9FFCEB4B2170}" destId="{C2F14CEE-B158-411F-BF94-40AA52A8ABF7}" srcOrd="1" destOrd="0" presId="urn:microsoft.com/office/officeart/2005/8/layout/vList2"/>
    <dgm:cxn modelId="{2B0171A2-495D-432B-9A7C-A968F442AB0D}" type="presParOf" srcId="{691D81F5-8BCC-4F3E-B818-9FFCEB4B2170}" destId="{FE0C03F4-EEF0-4C60-BF54-F6DB85A422FE}" srcOrd="2" destOrd="0" presId="urn:microsoft.com/office/officeart/2005/8/layout/vList2"/>
    <dgm:cxn modelId="{6B89A81E-E128-4A8C-8092-2173ADC3151B}" type="presParOf" srcId="{691D81F5-8BCC-4F3E-B818-9FFCEB4B2170}" destId="{4BE078EB-ED29-41D1-A7CB-299D63E8D71D}" srcOrd="3" destOrd="0" presId="urn:microsoft.com/office/officeart/2005/8/layout/vList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8258F3C-51ED-4C38-A84C-5551A2C6563F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186789-22CE-4AE3-A90C-04991492EE14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dirty="0">
              <a:solidFill>
                <a:srgbClr val="14446C"/>
              </a:solidFill>
              <a:latin typeface="+mn-lt"/>
            </a:rPr>
            <a:t>Система производственной канализации филиала «Азот»</a:t>
          </a:r>
        </a:p>
      </dgm:t>
    </dgm:pt>
    <dgm:pt modelId="{340277B6-5272-4CE2-B461-0469BF508B97}" type="parTrans" cxnId="{ACFAFFE8-DEC4-4228-8616-EACEB647845B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D7D5F1DA-6E83-49FC-9339-CAB6F785B66E}" type="sibTrans" cxnId="{ACFAFFE8-DEC4-4228-8616-EACEB647845B}">
      <dgm:prSet/>
      <dgm:spPr>
        <a:solidFill>
          <a:srgbClr val="D60500"/>
        </a:solidFill>
        <a:ln>
          <a:solidFill>
            <a:srgbClr val="236CB0"/>
          </a:solidFill>
        </a:ln>
      </dgm:spPr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95AF0EEA-7933-4740-B05F-FA29A4094838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dirty="0">
              <a:solidFill>
                <a:srgbClr val="14446C"/>
              </a:solidFill>
              <a:latin typeface="+mn-lt"/>
            </a:rPr>
            <a:t>КНС-3 </a:t>
          </a:r>
          <a:r>
            <a:rPr lang="ru-RU" sz="1400" baseline="0" dirty="0">
              <a:solidFill>
                <a:srgbClr val="14446C"/>
              </a:solidFill>
              <a:latin typeface="+mn-lt"/>
            </a:rPr>
            <a:t>с приемным резервуаром </a:t>
          </a:r>
          <a:r>
            <a:rPr lang="ru-RU" sz="1400" dirty="0">
              <a:solidFill>
                <a:srgbClr val="14446C"/>
              </a:solidFill>
              <a:latin typeface="+mn-lt"/>
            </a:rPr>
            <a:t>600 м</a:t>
          </a:r>
          <a:r>
            <a:rPr lang="ru-RU" sz="1400" baseline="30000" dirty="0">
              <a:solidFill>
                <a:srgbClr val="14446C"/>
              </a:solidFill>
              <a:latin typeface="+mn-lt"/>
            </a:rPr>
            <a:t>3</a:t>
          </a:r>
          <a:r>
            <a:rPr lang="ru-RU" sz="1400" dirty="0">
              <a:solidFill>
                <a:srgbClr val="14446C"/>
              </a:solidFill>
              <a:latin typeface="+mn-lt"/>
            </a:rPr>
            <a:t>/час</a:t>
          </a:r>
        </a:p>
      </dgm:t>
    </dgm:pt>
    <dgm:pt modelId="{0E50BA1D-6431-4532-A2D8-B1EC68817D42}" type="parTrans" cxnId="{F807E46A-EF4A-4DE9-A9C7-920B5489A196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409C9091-E284-4AA7-957F-8FDB2AA1BA71}" type="sibTrans" cxnId="{F807E46A-EF4A-4DE9-A9C7-920B5489A196}">
      <dgm:prSet/>
      <dgm:spPr>
        <a:solidFill>
          <a:srgbClr val="D60500"/>
        </a:solidFill>
        <a:ln>
          <a:solidFill>
            <a:srgbClr val="236CB0"/>
          </a:solidFill>
        </a:ln>
      </dgm:spPr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CC24B5AD-38FD-49ED-9CDA-851F9D603E27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dirty="0">
              <a:solidFill>
                <a:srgbClr val="14446C"/>
              </a:solidFill>
              <a:latin typeface="+mn-lt"/>
            </a:rPr>
            <a:t>Пруд-накопитель </a:t>
          </a:r>
          <a:r>
            <a:rPr lang="en-US" sz="1400" dirty="0">
              <a:solidFill>
                <a:srgbClr val="14446C"/>
              </a:solidFill>
              <a:latin typeface="+mn-lt"/>
            </a:rPr>
            <a:t>V= 65000 </a:t>
          </a:r>
          <a:r>
            <a:rPr lang="ru-RU" sz="1400" dirty="0">
              <a:solidFill>
                <a:srgbClr val="14446C"/>
              </a:solidFill>
              <a:latin typeface="+mn-lt"/>
            </a:rPr>
            <a:t>м</a:t>
          </a:r>
          <a:r>
            <a:rPr lang="en-US" sz="1400" baseline="30000" dirty="0">
              <a:solidFill>
                <a:srgbClr val="14446C"/>
              </a:solidFill>
              <a:latin typeface="+mn-lt"/>
            </a:rPr>
            <a:t>3</a:t>
          </a:r>
          <a:endParaRPr lang="ru-RU" sz="1400" baseline="30000" dirty="0">
            <a:solidFill>
              <a:srgbClr val="14446C"/>
            </a:solidFill>
            <a:latin typeface="+mn-lt"/>
          </a:endParaRPr>
        </a:p>
      </dgm:t>
    </dgm:pt>
    <dgm:pt modelId="{2E33DD4E-C18F-4AEA-B68F-2F17EFE004EB}" type="parTrans" cxnId="{0702252B-4C52-407A-8993-E99C738BE6EB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A9DB221A-8C96-4DD2-8BCD-711E6A67314E}" type="sibTrans" cxnId="{0702252B-4C52-407A-8993-E99C738BE6EB}">
      <dgm:prSet/>
      <dgm:spPr>
        <a:solidFill>
          <a:srgbClr val="D60500"/>
        </a:solidFill>
        <a:ln>
          <a:solidFill>
            <a:srgbClr val="236CB0"/>
          </a:solidFill>
        </a:ln>
      </dgm:spPr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CFBCC77A-B6F5-4467-9088-C9451E2C0A6E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dirty="0">
              <a:solidFill>
                <a:srgbClr val="14446C"/>
              </a:solidFill>
              <a:latin typeface="+mn-lt"/>
            </a:rPr>
            <a:t>ГНС-2               3000 м</a:t>
          </a:r>
          <a:r>
            <a:rPr lang="ru-RU" sz="1400" baseline="30000" dirty="0">
              <a:solidFill>
                <a:srgbClr val="14446C"/>
              </a:solidFill>
              <a:latin typeface="+mn-lt"/>
            </a:rPr>
            <a:t>3</a:t>
          </a:r>
          <a:r>
            <a:rPr lang="ru-RU" sz="1400" dirty="0">
              <a:solidFill>
                <a:srgbClr val="14446C"/>
              </a:solidFill>
              <a:latin typeface="+mn-lt"/>
            </a:rPr>
            <a:t>/час</a:t>
          </a:r>
        </a:p>
      </dgm:t>
    </dgm:pt>
    <dgm:pt modelId="{39497438-2164-465B-84C7-D3A37B2E31AE}" type="parTrans" cxnId="{996216C1-443C-4749-9922-5E504564F4CD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D70777C9-14DE-4A12-BDA6-D32558851017}" type="sibTrans" cxnId="{996216C1-443C-4749-9922-5E504564F4CD}">
      <dgm:prSet/>
      <dgm:spPr>
        <a:solidFill>
          <a:srgbClr val="D60500"/>
        </a:solidFill>
        <a:ln>
          <a:solidFill>
            <a:srgbClr val="236CB0"/>
          </a:solidFill>
        </a:ln>
      </dgm:spPr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BF6E3608-9CF9-4153-9CB7-D2D8148E251C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dirty="0">
              <a:solidFill>
                <a:srgbClr val="14446C"/>
              </a:solidFill>
              <a:latin typeface="+mn-lt"/>
            </a:rPr>
            <a:t>Сухая камера  задвижек</a:t>
          </a:r>
        </a:p>
      </dgm:t>
    </dgm:pt>
    <dgm:pt modelId="{F8445DC3-60FB-4136-9A40-585AA7B3622F}" type="parTrans" cxnId="{26F66706-E455-4CF0-9DA7-26290EAF44C0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3BA95D8A-B69D-465F-B998-7FFDC57453CD}" type="sibTrans" cxnId="{26F66706-E455-4CF0-9DA7-26290EAF44C0}">
      <dgm:prSet/>
      <dgm:spPr>
        <a:solidFill>
          <a:srgbClr val="D60500"/>
        </a:solidFill>
        <a:ln>
          <a:solidFill>
            <a:srgbClr val="236CB0"/>
          </a:solidFill>
        </a:ln>
      </dgm:spPr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E1A621C8-0185-47CE-898B-5235F003224C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dirty="0">
              <a:solidFill>
                <a:srgbClr val="14446C"/>
              </a:solidFill>
              <a:latin typeface="+mn-lt"/>
            </a:rPr>
            <a:t>Трасса К3н от КНС-3 до пруда-накопителя,  две линии</a:t>
          </a:r>
        </a:p>
      </dgm:t>
    </dgm:pt>
    <dgm:pt modelId="{A72F55FB-5D24-4CE9-87BE-00048D546069}" type="parTrans" cxnId="{C63B6994-12AA-466D-A225-15C7F69D9565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3C5C08CD-E8D5-4BB6-AA32-C1D0F12DCFF4}" type="sibTrans" cxnId="{C63B6994-12AA-466D-A225-15C7F69D9565}">
      <dgm:prSet/>
      <dgm:spPr>
        <a:solidFill>
          <a:srgbClr val="D60500"/>
        </a:solidFill>
        <a:ln>
          <a:solidFill>
            <a:srgbClr val="236CB0"/>
          </a:solidFill>
        </a:ln>
      </dgm:spPr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782EB956-ABBD-4962-915E-247E13CA02C3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dirty="0">
              <a:solidFill>
                <a:srgbClr val="14446C"/>
              </a:solidFill>
              <a:latin typeface="+mn-lt"/>
            </a:rPr>
            <a:t>Трасса К3н от ГНС-2 до точки выпуска №5, №6, 2 линии</a:t>
          </a:r>
        </a:p>
      </dgm:t>
    </dgm:pt>
    <dgm:pt modelId="{8DA43947-1235-46AC-B438-E2EB63B37866}" type="parTrans" cxnId="{1DA17F8C-C494-485F-AEB5-3B3623FD9C85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DA0F9494-BB23-4F97-A1D2-C32D75533754}" type="sibTrans" cxnId="{1DA17F8C-C494-485F-AEB5-3B3623FD9C85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D5C642B7-644A-4C47-AB44-508D05E54991}">
      <dgm:prSet phldrT="[Текст]" custT="1"/>
      <dgm:spPr>
        <a:solidFill>
          <a:srgbClr val="CCDDED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400" baseline="0" dirty="0">
              <a:solidFill>
                <a:srgbClr val="14446C"/>
              </a:solidFill>
              <a:latin typeface="+mn-lt"/>
            </a:rPr>
            <a:t>Водосборный приямок</a:t>
          </a:r>
        </a:p>
      </dgm:t>
    </dgm:pt>
    <dgm:pt modelId="{D96C27DB-D9F0-4E82-B4F1-9A7D8859B326}" type="parTrans" cxnId="{A685D5F6-ED30-4DD5-91FE-E7D8A17843CC}">
      <dgm:prSet/>
      <dgm:spPr/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D1B9B509-7AE2-400C-BC5B-1C35B4AED2B0}" type="sibTrans" cxnId="{A685D5F6-ED30-4DD5-91FE-E7D8A17843CC}">
      <dgm:prSet/>
      <dgm:spPr>
        <a:solidFill>
          <a:srgbClr val="D60500"/>
        </a:solidFill>
        <a:ln>
          <a:solidFill>
            <a:srgbClr val="236CB0"/>
          </a:solidFill>
        </a:ln>
      </dgm:spPr>
      <dgm:t>
        <a:bodyPr/>
        <a:lstStyle/>
        <a:p>
          <a:endParaRPr lang="ru-RU">
            <a:solidFill>
              <a:srgbClr val="14446C"/>
            </a:solidFill>
          </a:endParaRPr>
        </a:p>
      </dgm:t>
    </dgm:pt>
    <dgm:pt modelId="{CABAABD7-7D4E-468B-B9D1-18A5659BF09F}" type="pres">
      <dgm:prSet presAssocID="{E8258F3C-51ED-4C38-A84C-5551A2C6563F}" presName="diagram" presStyleCnt="0">
        <dgm:presLayoutVars>
          <dgm:dir/>
          <dgm:resizeHandles val="exact"/>
        </dgm:presLayoutVars>
      </dgm:prSet>
      <dgm:spPr/>
    </dgm:pt>
    <dgm:pt modelId="{3DD8FD1B-C3FA-49A9-8292-94333D928006}" type="pres">
      <dgm:prSet presAssocID="{96186789-22CE-4AE3-A90C-04991492EE14}" presName="node" presStyleLbl="node1" presStyleIdx="0" presStyleCnt="8">
        <dgm:presLayoutVars>
          <dgm:bulletEnabled val="1"/>
        </dgm:presLayoutVars>
      </dgm:prSet>
      <dgm:spPr/>
    </dgm:pt>
    <dgm:pt modelId="{6B557495-94AF-43B2-A3F3-407C295073FC}" type="pres">
      <dgm:prSet presAssocID="{D7D5F1DA-6E83-49FC-9339-CAB6F785B66E}" presName="sibTrans" presStyleLbl="sibTrans2D1" presStyleIdx="0" presStyleCnt="7"/>
      <dgm:spPr/>
    </dgm:pt>
    <dgm:pt modelId="{E28F9E33-C983-460C-992F-D552805ACC9D}" type="pres">
      <dgm:prSet presAssocID="{D7D5F1DA-6E83-49FC-9339-CAB6F785B66E}" presName="connectorText" presStyleLbl="sibTrans2D1" presStyleIdx="0" presStyleCnt="7"/>
      <dgm:spPr/>
    </dgm:pt>
    <dgm:pt modelId="{EAF7B32B-A913-4577-8725-7F59BF02CAAB}" type="pres">
      <dgm:prSet presAssocID="{95AF0EEA-7933-4740-B05F-FA29A4094838}" presName="node" presStyleLbl="node1" presStyleIdx="1" presStyleCnt="8">
        <dgm:presLayoutVars>
          <dgm:bulletEnabled val="1"/>
        </dgm:presLayoutVars>
      </dgm:prSet>
      <dgm:spPr/>
    </dgm:pt>
    <dgm:pt modelId="{A84C91A0-015C-470A-B797-35BE9587E453}" type="pres">
      <dgm:prSet presAssocID="{409C9091-E284-4AA7-957F-8FDB2AA1BA71}" presName="sibTrans" presStyleLbl="sibTrans2D1" presStyleIdx="1" presStyleCnt="7"/>
      <dgm:spPr/>
    </dgm:pt>
    <dgm:pt modelId="{65F675EC-CDA0-49E5-86FB-C6FD00F0AF40}" type="pres">
      <dgm:prSet presAssocID="{409C9091-E284-4AA7-957F-8FDB2AA1BA71}" presName="connectorText" presStyleLbl="sibTrans2D1" presStyleIdx="1" presStyleCnt="7"/>
      <dgm:spPr/>
    </dgm:pt>
    <dgm:pt modelId="{B72A8CF4-F2DC-444D-8EBA-D642A101AF60}" type="pres">
      <dgm:prSet presAssocID="{E1A621C8-0185-47CE-898B-5235F003224C}" presName="node" presStyleLbl="node1" presStyleIdx="2" presStyleCnt="8">
        <dgm:presLayoutVars>
          <dgm:bulletEnabled val="1"/>
        </dgm:presLayoutVars>
      </dgm:prSet>
      <dgm:spPr/>
    </dgm:pt>
    <dgm:pt modelId="{A1C6E4F4-2D1B-4EF4-A023-F41270834C7B}" type="pres">
      <dgm:prSet presAssocID="{3C5C08CD-E8D5-4BB6-AA32-C1D0F12DCFF4}" presName="sibTrans" presStyleLbl="sibTrans2D1" presStyleIdx="2" presStyleCnt="7"/>
      <dgm:spPr/>
    </dgm:pt>
    <dgm:pt modelId="{3DB7059D-573B-44C3-83E4-14FA4F6B160B}" type="pres">
      <dgm:prSet presAssocID="{3C5C08CD-E8D5-4BB6-AA32-C1D0F12DCFF4}" presName="connectorText" presStyleLbl="sibTrans2D1" presStyleIdx="2" presStyleCnt="7"/>
      <dgm:spPr/>
    </dgm:pt>
    <dgm:pt modelId="{60B49164-B45C-40BF-A75A-B84BA0FA0D7E}" type="pres">
      <dgm:prSet presAssocID="{BF6E3608-9CF9-4153-9CB7-D2D8148E251C}" presName="node" presStyleLbl="node1" presStyleIdx="3" presStyleCnt="8">
        <dgm:presLayoutVars>
          <dgm:bulletEnabled val="1"/>
        </dgm:presLayoutVars>
      </dgm:prSet>
      <dgm:spPr/>
    </dgm:pt>
    <dgm:pt modelId="{BDBA91CA-A288-43EF-97EE-74A29B4E3DB6}" type="pres">
      <dgm:prSet presAssocID="{3BA95D8A-B69D-465F-B998-7FFDC57453CD}" presName="sibTrans" presStyleLbl="sibTrans2D1" presStyleIdx="3" presStyleCnt="7"/>
      <dgm:spPr/>
    </dgm:pt>
    <dgm:pt modelId="{53A5744D-4FAA-41ED-8996-03C82658FCE9}" type="pres">
      <dgm:prSet presAssocID="{3BA95D8A-B69D-465F-B998-7FFDC57453CD}" presName="connectorText" presStyleLbl="sibTrans2D1" presStyleIdx="3" presStyleCnt="7"/>
      <dgm:spPr/>
    </dgm:pt>
    <dgm:pt modelId="{BF848BA1-83D1-4356-90B6-48FC0FC679F1}" type="pres">
      <dgm:prSet presAssocID="{CC24B5AD-38FD-49ED-9CDA-851F9D603E27}" presName="node" presStyleLbl="node1" presStyleIdx="4" presStyleCnt="8">
        <dgm:presLayoutVars>
          <dgm:bulletEnabled val="1"/>
        </dgm:presLayoutVars>
      </dgm:prSet>
      <dgm:spPr/>
    </dgm:pt>
    <dgm:pt modelId="{E65EBE87-AA9F-4C8C-93CA-9E0511F31F59}" type="pres">
      <dgm:prSet presAssocID="{A9DB221A-8C96-4DD2-8BCD-711E6A67314E}" presName="sibTrans" presStyleLbl="sibTrans2D1" presStyleIdx="4" presStyleCnt="7"/>
      <dgm:spPr/>
    </dgm:pt>
    <dgm:pt modelId="{4B19B1A9-DC1E-40AF-A265-88A32704C4CD}" type="pres">
      <dgm:prSet presAssocID="{A9DB221A-8C96-4DD2-8BCD-711E6A67314E}" presName="connectorText" presStyleLbl="sibTrans2D1" presStyleIdx="4" presStyleCnt="7"/>
      <dgm:spPr/>
    </dgm:pt>
    <dgm:pt modelId="{24F2C041-BEB5-4EE6-BBE8-959AFF78DD7A}" type="pres">
      <dgm:prSet presAssocID="{D5C642B7-644A-4C47-AB44-508D05E54991}" presName="node" presStyleLbl="node1" presStyleIdx="5" presStyleCnt="8">
        <dgm:presLayoutVars>
          <dgm:bulletEnabled val="1"/>
        </dgm:presLayoutVars>
      </dgm:prSet>
      <dgm:spPr/>
    </dgm:pt>
    <dgm:pt modelId="{6A6E44A2-C1D4-4269-A24D-2F1FC4C8B2C4}" type="pres">
      <dgm:prSet presAssocID="{D1B9B509-7AE2-400C-BC5B-1C35B4AED2B0}" presName="sibTrans" presStyleLbl="sibTrans2D1" presStyleIdx="5" presStyleCnt="7"/>
      <dgm:spPr/>
    </dgm:pt>
    <dgm:pt modelId="{8C111DF8-1E17-49B4-9C90-8F69406E1412}" type="pres">
      <dgm:prSet presAssocID="{D1B9B509-7AE2-400C-BC5B-1C35B4AED2B0}" presName="connectorText" presStyleLbl="sibTrans2D1" presStyleIdx="5" presStyleCnt="7"/>
      <dgm:spPr/>
    </dgm:pt>
    <dgm:pt modelId="{8799264A-5656-4726-B4BA-64AA6B519C1D}" type="pres">
      <dgm:prSet presAssocID="{CFBCC77A-B6F5-4467-9088-C9451E2C0A6E}" presName="node" presStyleLbl="node1" presStyleIdx="6" presStyleCnt="8">
        <dgm:presLayoutVars>
          <dgm:bulletEnabled val="1"/>
        </dgm:presLayoutVars>
      </dgm:prSet>
      <dgm:spPr/>
    </dgm:pt>
    <dgm:pt modelId="{DE0985DD-60B5-4F42-BA7D-19CFBBDECE92}" type="pres">
      <dgm:prSet presAssocID="{D70777C9-14DE-4A12-BDA6-D32558851017}" presName="sibTrans" presStyleLbl="sibTrans2D1" presStyleIdx="6" presStyleCnt="7"/>
      <dgm:spPr/>
    </dgm:pt>
    <dgm:pt modelId="{5B23B180-F4B4-4E9B-BFDA-0CCD96CE3E07}" type="pres">
      <dgm:prSet presAssocID="{D70777C9-14DE-4A12-BDA6-D32558851017}" presName="connectorText" presStyleLbl="sibTrans2D1" presStyleIdx="6" presStyleCnt="7"/>
      <dgm:spPr/>
    </dgm:pt>
    <dgm:pt modelId="{F0155E85-33B9-46EF-A4E6-93FB70A5652B}" type="pres">
      <dgm:prSet presAssocID="{782EB956-ABBD-4962-915E-247E13CA02C3}" presName="node" presStyleLbl="node1" presStyleIdx="7" presStyleCnt="8">
        <dgm:presLayoutVars>
          <dgm:bulletEnabled val="1"/>
        </dgm:presLayoutVars>
      </dgm:prSet>
      <dgm:spPr/>
    </dgm:pt>
  </dgm:ptLst>
  <dgm:cxnLst>
    <dgm:cxn modelId="{26F66706-E455-4CF0-9DA7-26290EAF44C0}" srcId="{E8258F3C-51ED-4C38-A84C-5551A2C6563F}" destId="{BF6E3608-9CF9-4153-9CB7-D2D8148E251C}" srcOrd="3" destOrd="0" parTransId="{F8445DC3-60FB-4136-9A40-585AA7B3622F}" sibTransId="{3BA95D8A-B69D-465F-B998-7FFDC57453CD}"/>
    <dgm:cxn modelId="{E42B7B1F-178D-444A-A46F-58188E4C4E51}" type="presOf" srcId="{D7D5F1DA-6E83-49FC-9339-CAB6F785B66E}" destId="{6B557495-94AF-43B2-A3F3-407C295073FC}" srcOrd="0" destOrd="0" presId="urn:microsoft.com/office/officeart/2005/8/layout/process5"/>
    <dgm:cxn modelId="{F5FD3221-3B25-4015-BBD2-4ED7DB9A8296}" type="presOf" srcId="{D70777C9-14DE-4A12-BDA6-D32558851017}" destId="{5B23B180-F4B4-4E9B-BFDA-0CCD96CE3E07}" srcOrd="1" destOrd="0" presId="urn:microsoft.com/office/officeart/2005/8/layout/process5"/>
    <dgm:cxn modelId="{0702252B-4C52-407A-8993-E99C738BE6EB}" srcId="{E8258F3C-51ED-4C38-A84C-5551A2C6563F}" destId="{CC24B5AD-38FD-49ED-9CDA-851F9D603E27}" srcOrd="4" destOrd="0" parTransId="{2E33DD4E-C18F-4AEA-B68F-2F17EFE004EB}" sibTransId="{A9DB221A-8C96-4DD2-8BCD-711E6A67314E}"/>
    <dgm:cxn modelId="{F527EC2F-79F2-49DB-B70C-0D8F08A7A472}" type="presOf" srcId="{D1B9B509-7AE2-400C-BC5B-1C35B4AED2B0}" destId="{8C111DF8-1E17-49B4-9C90-8F69406E1412}" srcOrd="1" destOrd="0" presId="urn:microsoft.com/office/officeart/2005/8/layout/process5"/>
    <dgm:cxn modelId="{691E6B37-60DB-4711-B73D-9E12E1A3550F}" type="presOf" srcId="{D5C642B7-644A-4C47-AB44-508D05E54991}" destId="{24F2C041-BEB5-4EE6-BBE8-959AFF78DD7A}" srcOrd="0" destOrd="0" presId="urn:microsoft.com/office/officeart/2005/8/layout/process5"/>
    <dgm:cxn modelId="{824D683C-AC03-4BB1-9FEA-5337AF054E35}" type="presOf" srcId="{95AF0EEA-7933-4740-B05F-FA29A4094838}" destId="{EAF7B32B-A913-4577-8725-7F59BF02CAAB}" srcOrd="0" destOrd="0" presId="urn:microsoft.com/office/officeart/2005/8/layout/process5"/>
    <dgm:cxn modelId="{D4A8D35B-0373-47C5-BD83-07E46372E5D1}" type="presOf" srcId="{3BA95D8A-B69D-465F-B998-7FFDC57453CD}" destId="{BDBA91CA-A288-43EF-97EE-74A29B4E3DB6}" srcOrd="0" destOrd="0" presId="urn:microsoft.com/office/officeart/2005/8/layout/process5"/>
    <dgm:cxn modelId="{D90AD469-156F-4517-BA2E-014FDEAF6221}" type="presOf" srcId="{D70777C9-14DE-4A12-BDA6-D32558851017}" destId="{DE0985DD-60B5-4F42-BA7D-19CFBBDECE92}" srcOrd="0" destOrd="0" presId="urn:microsoft.com/office/officeart/2005/8/layout/process5"/>
    <dgm:cxn modelId="{A57D4F4A-D431-46BA-BFF1-348FE1709F87}" type="presOf" srcId="{D1B9B509-7AE2-400C-BC5B-1C35B4AED2B0}" destId="{6A6E44A2-C1D4-4269-A24D-2F1FC4C8B2C4}" srcOrd="0" destOrd="0" presId="urn:microsoft.com/office/officeart/2005/8/layout/process5"/>
    <dgm:cxn modelId="{F807E46A-EF4A-4DE9-A9C7-920B5489A196}" srcId="{E8258F3C-51ED-4C38-A84C-5551A2C6563F}" destId="{95AF0EEA-7933-4740-B05F-FA29A4094838}" srcOrd="1" destOrd="0" parTransId="{0E50BA1D-6431-4532-A2D8-B1EC68817D42}" sibTransId="{409C9091-E284-4AA7-957F-8FDB2AA1BA71}"/>
    <dgm:cxn modelId="{71B4384E-6582-473A-A756-05FD3C0BFDC6}" type="presOf" srcId="{3C5C08CD-E8D5-4BB6-AA32-C1D0F12DCFF4}" destId="{A1C6E4F4-2D1B-4EF4-A023-F41270834C7B}" srcOrd="0" destOrd="0" presId="urn:microsoft.com/office/officeart/2005/8/layout/process5"/>
    <dgm:cxn modelId="{C6E35474-F282-44C5-9533-59CEE3FE1B22}" type="presOf" srcId="{BF6E3608-9CF9-4153-9CB7-D2D8148E251C}" destId="{60B49164-B45C-40BF-A75A-B84BA0FA0D7E}" srcOrd="0" destOrd="0" presId="urn:microsoft.com/office/officeart/2005/8/layout/process5"/>
    <dgm:cxn modelId="{29EE1475-12BE-49A9-8C73-333CB34F21C5}" type="presOf" srcId="{CC24B5AD-38FD-49ED-9CDA-851F9D603E27}" destId="{BF848BA1-83D1-4356-90B6-48FC0FC679F1}" srcOrd="0" destOrd="0" presId="urn:microsoft.com/office/officeart/2005/8/layout/process5"/>
    <dgm:cxn modelId="{9F62845A-141D-43C9-9962-8366A13C22F2}" type="presOf" srcId="{409C9091-E284-4AA7-957F-8FDB2AA1BA71}" destId="{A84C91A0-015C-470A-B797-35BE9587E453}" srcOrd="0" destOrd="0" presId="urn:microsoft.com/office/officeart/2005/8/layout/process5"/>
    <dgm:cxn modelId="{6C50B87B-E4A9-4D64-88BA-646D166E3AF7}" type="presOf" srcId="{3C5C08CD-E8D5-4BB6-AA32-C1D0F12DCFF4}" destId="{3DB7059D-573B-44C3-83E4-14FA4F6B160B}" srcOrd="1" destOrd="0" presId="urn:microsoft.com/office/officeart/2005/8/layout/process5"/>
    <dgm:cxn modelId="{2802C084-DF7D-4A66-B45C-B76BCA398C63}" type="presOf" srcId="{96186789-22CE-4AE3-A90C-04991492EE14}" destId="{3DD8FD1B-C3FA-49A9-8292-94333D928006}" srcOrd="0" destOrd="0" presId="urn:microsoft.com/office/officeart/2005/8/layout/process5"/>
    <dgm:cxn modelId="{1DA17F8C-C494-485F-AEB5-3B3623FD9C85}" srcId="{E8258F3C-51ED-4C38-A84C-5551A2C6563F}" destId="{782EB956-ABBD-4962-915E-247E13CA02C3}" srcOrd="7" destOrd="0" parTransId="{8DA43947-1235-46AC-B438-E2EB63B37866}" sibTransId="{DA0F9494-BB23-4F97-A1D2-C32D75533754}"/>
    <dgm:cxn modelId="{DC6D3D8D-B2CF-434B-8DFF-D2C5F2A42B9F}" type="presOf" srcId="{A9DB221A-8C96-4DD2-8BCD-711E6A67314E}" destId="{4B19B1A9-DC1E-40AF-A265-88A32704C4CD}" srcOrd="1" destOrd="0" presId="urn:microsoft.com/office/officeart/2005/8/layout/process5"/>
    <dgm:cxn modelId="{C63B6994-12AA-466D-A225-15C7F69D9565}" srcId="{E8258F3C-51ED-4C38-A84C-5551A2C6563F}" destId="{E1A621C8-0185-47CE-898B-5235F003224C}" srcOrd="2" destOrd="0" parTransId="{A72F55FB-5D24-4CE9-87BE-00048D546069}" sibTransId="{3C5C08CD-E8D5-4BB6-AA32-C1D0F12DCFF4}"/>
    <dgm:cxn modelId="{7FA827A4-09D4-4AF2-A214-DCB2D2C425F1}" type="presOf" srcId="{A9DB221A-8C96-4DD2-8BCD-711E6A67314E}" destId="{E65EBE87-AA9F-4C8C-93CA-9E0511F31F59}" srcOrd="0" destOrd="0" presId="urn:microsoft.com/office/officeart/2005/8/layout/process5"/>
    <dgm:cxn modelId="{132EA4BA-8C63-4886-81C5-7650B2AAE484}" type="presOf" srcId="{E8258F3C-51ED-4C38-A84C-5551A2C6563F}" destId="{CABAABD7-7D4E-468B-B9D1-18A5659BF09F}" srcOrd="0" destOrd="0" presId="urn:microsoft.com/office/officeart/2005/8/layout/process5"/>
    <dgm:cxn modelId="{92726EBC-4D39-4C2A-9E25-08F0DAE0307E}" type="presOf" srcId="{409C9091-E284-4AA7-957F-8FDB2AA1BA71}" destId="{65F675EC-CDA0-49E5-86FB-C6FD00F0AF40}" srcOrd="1" destOrd="0" presId="urn:microsoft.com/office/officeart/2005/8/layout/process5"/>
    <dgm:cxn modelId="{FB034FBE-D46D-4742-BF15-F948193022A5}" type="presOf" srcId="{3BA95D8A-B69D-465F-B998-7FFDC57453CD}" destId="{53A5744D-4FAA-41ED-8996-03C82658FCE9}" srcOrd="1" destOrd="0" presId="urn:microsoft.com/office/officeart/2005/8/layout/process5"/>
    <dgm:cxn modelId="{74F513BF-9899-489C-8CF4-988DC784BBE0}" type="presOf" srcId="{D7D5F1DA-6E83-49FC-9339-CAB6F785B66E}" destId="{E28F9E33-C983-460C-992F-D552805ACC9D}" srcOrd="1" destOrd="0" presId="urn:microsoft.com/office/officeart/2005/8/layout/process5"/>
    <dgm:cxn modelId="{996216C1-443C-4749-9922-5E504564F4CD}" srcId="{E8258F3C-51ED-4C38-A84C-5551A2C6563F}" destId="{CFBCC77A-B6F5-4467-9088-C9451E2C0A6E}" srcOrd="6" destOrd="0" parTransId="{39497438-2164-465B-84C7-D3A37B2E31AE}" sibTransId="{D70777C9-14DE-4A12-BDA6-D32558851017}"/>
    <dgm:cxn modelId="{2E459CD0-878F-43D1-8754-0A4A9E9B59A7}" type="presOf" srcId="{E1A621C8-0185-47CE-898B-5235F003224C}" destId="{B72A8CF4-F2DC-444D-8EBA-D642A101AF60}" srcOrd="0" destOrd="0" presId="urn:microsoft.com/office/officeart/2005/8/layout/process5"/>
    <dgm:cxn modelId="{77AE43D6-425C-4A45-BECA-881A1F4B1F6E}" type="presOf" srcId="{CFBCC77A-B6F5-4467-9088-C9451E2C0A6E}" destId="{8799264A-5656-4726-B4BA-64AA6B519C1D}" srcOrd="0" destOrd="0" presId="urn:microsoft.com/office/officeart/2005/8/layout/process5"/>
    <dgm:cxn modelId="{503139E7-81D1-47C2-8417-3D079A608628}" type="presOf" srcId="{782EB956-ABBD-4962-915E-247E13CA02C3}" destId="{F0155E85-33B9-46EF-A4E6-93FB70A5652B}" srcOrd="0" destOrd="0" presId="urn:microsoft.com/office/officeart/2005/8/layout/process5"/>
    <dgm:cxn modelId="{ACFAFFE8-DEC4-4228-8616-EACEB647845B}" srcId="{E8258F3C-51ED-4C38-A84C-5551A2C6563F}" destId="{96186789-22CE-4AE3-A90C-04991492EE14}" srcOrd="0" destOrd="0" parTransId="{340277B6-5272-4CE2-B461-0469BF508B97}" sibTransId="{D7D5F1DA-6E83-49FC-9339-CAB6F785B66E}"/>
    <dgm:cxn modelId="{A685D5F6-ED30-4DD5-91FE-E7D8A17843CC}" srcId="{E8258F3C-51ED-4C38-A84C-5551A2C6563F}" destId="{D5C642B7-644A-4C47-AB44-508D05E54991}" srcOrd="5" destOrd="0" parTransId="{D96C27DB-D9F0-4E82-B4F1-9A7D8859B326}" sibTransId="{D1B9B509-7AE2-400C-BC5B-1C35B4AED2B0}"/>
    <dgm:cxn modelId="{7A91FF0A-E528-4F0E-A31E-67C559DDA24F}" type="presParOf" srcId="{CABAABD7-7D4E-468B-B9D1-18A5659BF09F}" destId="{3DD8FD1B-C3FA-49A9-8292-94333D928006}" srcOrd="0" destOrd="0" presId="urn:microsoft.com/office/officeart/2005/8/layout/process5"/>
    <dgm:cxn modelId="{623A23A2-A850-4EE8-BF25-CDCEDC7638C2}" type="presParOf" srcId="{CABAABD7-7D4E-468B-B9D1-18A5659BF09F}" destId="{6B557495-94AF-43B2-A3F3-407C295073FC}" srcOrd="1" destOrd="0" presId="urn:microsoft.com/office/officeart/2005/8/layout/process5"/>
    <dgm:cxn modelId="{13350889-1F55-44DE-B2F4-01A0F2E90380}" type="presParOf" srcId="{6B557495-94AF-43B2-A3F3-407C295073FC}" destId="{E28F9E33-C983-460C-992F-D552805ACC9D}" srcOrd="0" destOrd="0" presId="urn:microsoft.com/office/officeart/2005/8/layout/process5"/>
    <dgm:cxn modelId="{EF994A16-04DD-4E23-9897-FAA0E8CE7F34}" type="presParOf" srcId="{CABAABD7-7D4E-468B-B9D1-18A5659BF09F}" destId="{EAF7B32B-A913-4577-8725-7F59BF02CAAB}" srcOrd="2" destOrd="0" presId="urn:microsoft.com/office/officeart/2005/8/layout/process5"/>
    <dgm:cxn modelId="{4C7C6AE8-D9F0-4E7B-94E9-E3A7BD31DAA5}" type="presParOf" srcId="{CABAABD7-7D4E-468B-B9D1-18A5659BF09F}" destId="{A84C91A0-015C-470A-B797-35BE9587E453}" srcOrd="3" destOrd="0" presId="urn:microsoft.com/office/officeart/2005/8/layout/process5"/>
    <dgm:cxn modelId="{B9659C27-013E-4D21-858B-0BC4A433C75F}" type="presParOf" srcId="{A84C91A0-015C-470A-B797-35BE9587E453}" destId="{65F675EC-CDA0-49E5-86FB-C6FD00F0AF40}" srcOrd="0" destOrd="0" presId="urn:microsoft.com/office/officeart/2005/8/layout/process5"/>
    <dgm:cxn modelId="{0F847CD7-F9D1-4331-8F3D-AFF5F4B5F1BB}" type="presParOf" srcId="{CABAABD7-7D4E-468B-B9D1-18A5659BF09F}" destId="{B72A8CF4-F2DC-444D-8EBA-D642A101AF60}" srcOrd="4" destOrd="0" presId="urn:microsoft.com/office/officeart/2005/8/layout/process5"/>
    <dgm:cxn modelId="{6915CA53-088B-48CB-9F5B-DA1FB8C8D1FE}" type="presParOf" srcId="{CABAABD7-7D4E-468B-B9D1-18A5659BF09F}" destId="{A1C6E4F4-2D1B-4EF4-A023-F41270834C7B}" srcOrd="5" destOrd="0" presId="urn:microsoft.com/office/officeart/2005/8/layout/process5"/>
    <dgm:cxn modelId="{B42EA365-0485-4C2B-ACF9-B760F0DD6003}" type="presParOf" srcId="{A1C6E4F4-2D1B-4EF4-A023-F41270834C7B}" destId="{3DB7059D-573B-44C3-83E4-14FA4F6B160B}" srcOrd="0" destOrd="0" presId="urn:microsoft.com/office/officeart/2005/8/layout/process5"/>
    <dgm:cxn modelId="{B49FF46C-F8AF-42CE-AEE3-5F7CA428BD73}" type="presParOf" srcId="{CABAABD7-7D4E-468B-B9D1-18A5659BF09F}" destId="{60B49164-B45C-40BF-A75A-B84BA0FA0D7E}" srcOrd="6" destOrd="0" presId="urn:microsoft.com/office/officeart/2005/8/layout/process5"/>
    <dgm:cxn modelId="{95944AEA-CB4D-4DFB-8D65-DBD5C8F11722}" type="presParOf" srcId="{CABAABD7-7D4E-468B-B9D1-18A5659BF09F}" destId="{BDBA91CA-A288-43EF-97EE-74A29B4E3DB6}" srcOrd="7" destOrd="0" presId="urn:microsoft.com/office/officeart/2005/8/layout/process5"/>
    <dgm:cxn modelId="{15BFA57B-AACB-4569-AD70-7304828851D8}" type="presParOf" srcId="{BDBA91CA-A288-43EF-97EE-74A29B4E3DB6}" destId="{53A5744D-4FAA-41ED-8996-03C82658FCE9}" srcOrd="0" destOrd="0" presId="urn:microsoft.com/office/officeart/2005/8/layout/process5"/>
    <dgm:cxn modelId="{1BA79F2F-40AF-4A67-BFAA-FA46E14A6AEF}" type="presParOf" srcId="{CABAABD7-7D4E-468B-B9D1-18A5659BF09F}" destId="{BF848BA1-83D1-4356-90B6-48FC0FC679F1}" srcOrd="8" destOrd="0" presId="urn:microsoft.com/office/officeart/2005/8/layout/process5"/>
    <dgm:cxn modelId="{640A1691-3F25-4796-8274-2FB808A2F318}" type="presParOf" srcId="{CABAABD7-7D4E-468B-B9D1-18A5659BF09F}" destId="{E65EBE87-AA9F-4C8C-93CA-9E0511F31F59}" srcOrd="9" destOrd="0" presId="urn:microsoft.com/office/officeart/2005/8/layout/process5"/>
    <dgm:cxn modelId="{872D0AB8-CF8D-4A90-8C03-60143094A939}" type="presParOf" srcId="{E65EBE87-AA9F-4C8C-93CA-9E0511F31F59}" destId="{4B19B1A9-DC1E-40AF-A265-88A32704C4CD}" srcOrd="0" destOrd="0" presId="urn:microsoft.com/office/officeart/2005/8/layout/process5"/>
    <dgm:cxn modelId="{B2BD308E-8781-44B0-B525-0579625F171B}" type="presParOf" srcId="{CABAABD7-7D4E-468B-B9D1-18A5659BF09F}" destId="{24F2C041-BEB5-4EE6-BBE8-959AFF78DD7A}" srcOrd="10" destOrd="0" presId="urn:microsoft.com/office/officeart/2005/8/layout/process5"/>
    <dgm:cxn modelId="{C3CB4009-D6FD-49B9-8811-2B128ABA789B}" type="presParOf" srcId="{CABAABD7-7D4E-468B-B9D1-18A5659BF09F}" destId="{6A6E44A2-C1D4-4269-A24D-2F1FC4C8B2C4}" srcOrd="11" destOrd="0" presId="urn:microsoft.com/office/officeart/2005/8/layout/process5"/>
    <dgm:cxn modelId="{3CC9449F-0FFD-423F-86B6-3E3854C43DC4}" type="presParOf" srcId="{6A6E44A2-C1D4-4269-A24D-2F1FC4C8B2C4}" destId="{8C111DF8-1E17-49B4-9C90-8F69406E1412}" srcOrd="0" destOrd="0" presId="urn:microsoft.com/office/officeart/2005/8/layout/process5"/>
    <dgm:cxn modelId="{DF1AB5C6-036B-42DB-BC51-B33210CA434C}" type="presParOf" srcId="{CABAABD7-7D4E-468B-B9D1-18A5659BF09F}" destId="{8799264A-5656-4726-B4BA-64AA6B519C1D}" srcOrd="12" destOrd="0" presId="urn:microsoft.com/office/officeart/2005/8/layout/process5"/>
    <dgm:cxn modelId="{90F60F0C-B722-48CF-BB17-BFCF8D2D2F78}" type="presParOf" srcId="{CABAABD7-7D4E-468B-B9D1-18A5659BF09F}" destId="{DE0985DD-60B5-4F42-BA7D-19CFBBDECE92}" srcOrd="13" destOrd="0" presId="urn:microsoft.com/office/officeart/2005/8/layout/process5"/>
    <dgm:cxn modelId="{CC423C32-22E2-4C64-8FDA-C1128BBDD009}" type="presParOf" srcId="{DE0985DD-60B5-4F42-BA7D-19CFBBDECE92}" destId="{5B23B180-F4B4-4E9B-BFDA-0CCD96CE3E07}" srcOrd="0" destOrd="0" presId="urn:microsoft.com/office/officeart/2005/8/layout/process5"/>
    <dgm:cxn modelId="{DDD14408-8C1C-4FE8-922C-66B885B1AD7B}" type="presParOf" srcId="{CABAABD7-7D4E-468B-B9D1-18A5659BF09F}" destId="{F0155E85-33B9-46EF-A4E6-93FB70A5652B}" srcOrd="1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1B2C176-9B9A-4825-A4FD-96B359D76F2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C18988D-68BA-4A5A-9C3E-50CBC6491C34}">
      <dgm:prSet phldrT="[Текст]" custT="1"/>
      <dgm:spPr>
        <a:noFill/>
      </dgm:spPr>
      <dgm:t>
        <a:bodyPr/>
        <a:lstStyle/>
        <a:p>
          <a:pPr algn="just">
            <a:lnSpc>
              <a:spcPct val="100000"/>
            </a:lnSpc>
          </a:pPr>
          <a:r>
            <a:rPr lang="ru-RU" sz="1100" b="1" dirty="0">
              <a:solidFill>
                <a:srgbClr val="236CB0"/>
              </a:solidFill>
            </a:rPr>
            <a:t>Граница санитарно-защитной зона филиала «Азот» АО «ОХК «УРАЛХИМ» в городе Березники</a:t>
          </a:r>
        </a:p>
      </dgm:t>
    </dgm:pt>
    <dgm:pt modelId="{0E138402-AF11-4D89-8965-F13171702A45}" type="parTrans" cxnId="{6B41B941-F334-4AEA-B76C-EA3FB00A7F09}">
      <dgm:prSet/>
      <dgm:spPr/>
      <dgm:t>
        <a:bodyPr/>
        <a:lstStyle/>
        <a:p>
          <a:endParaRPr lang="ru-RU"/>
        </a:p>
      </dgm:t>
    </dgm:pt>
    <dgm:pt modelId="{B024FD32-31BC-4A37-8937-EB3671C9D095}" type="sibTrans" cxnId="{6B41B941-F334-4AEA-B76C-EA3FB00A7F09}">
      <dgm:prSet/>
      <dgm:spPr/>
      <dgm:t>
        <a:bodyPr/>
        <a:lstStyle/>
        <a:p>
          <a:endParaRPr lang="ru-RU"/>
        </a:p>
      </dgm:t>
    </dgm:pt>
    <dgm:pt modelId="{9BAA6A31-C748-41BC-8E68-FCBFD28FCB55}">
      <dgm:prSet phldrT="[Текст]" custT="1"/>
      <dgm:spPr>
        <a:noFill/>
      </dgm:spPr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севера - 1000 м</a:t>
          </a:r>
        </a:p>
      </dgm:t>
    </dgm:pt>
    <dgm:pt modelId="{55238AB9-93DC-4214-B341-87BEAE4157C4}" type="parTrans" cxnId="{C8A6582C-4E0B-492F-B5AF-575768CD9092}">
      <dgm:prSet/>
      <dgm:spPr/>
      <dgm:t>
        <a:bodyPr/>
        <a:lstStyle/>
        <a:p>
          <a:endParaRPr lang="ru-RU"/>
        </a:p>
      </dgm:t>
    </dgm:pt>
    <dgm:pt modelId="{B3077955-9FEA-4F47-861E-9731987D39AC}" type="sibTrans" cxnId="{C8A6582C-4E0B-492F-B5AF-575768CD9092}">
      <dgm:prSet/>
      <dgm:spPr/>
      <dgm:t>
        <a:bodyPr/>
        <a:lstStyle/>
        <a:p>
          <a:endParaRPr lang="ru-RU"/>
        </a:p>
      </dgm:t>
    </dgm:pt>
    <dgm:pt modelId="{A6338805-7FB0-48E7-B54E-23C654D1EA15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северо-востока - 1000 м</a:t>
          </a:r>
        </a:p>
      </dgm:t>
    </dgm:pt>
    <dgm:pt modelId="{8496A5E2-B856-49A5-9C30-D19EB87641FB}" type="parTrans" cxnId="{A9A9A015-116C-455F-836F-5A692551638A}">
      <dgm:prSet/>
      <dgm:spPr/>
      <dgm:t>
        <a:bodyPr/>
        <a:lstStyle/>
        <a:p>
          <a:endParaRPr lang="ru-RU"/>
        </a:p>
      </dgm:t>
    </dgm:pt>
    <dgm:pt modelId="{07897F02-A4B6-40C5-9F5F-2CE17D613652}" type="sibTrans" cxnId="{A9A9A015-116C-455F-836F-5A692551638A}">
      <dgm:prSet/>
      <dgm:spPr/>
      <dgm:t>
        <a:bodyPr/>
        <a:lstStyle/>
        <a:p>
          <a:endParaRPr lang="ru-RU"/>
        </a:p>
      </dgm:t>
    </dgm:pt>
    <dgm:pt modelId="{402CB459-F8C5-4B76-86A8-83863FF64EE7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востока - 1000 м</a:t>
          </a:r>
        </a:p>
      </dgm:t>
    </dgm:pt>
    <dgm:pt modelId="{B619C63F-758B-4F1A-874A-BD3245C2A4C1}" type="parTrans" cxnId="{23CDB85F-DA59-4464-8B73-CC73577DEB3B}">
      <dgm:prSet/>
      <dgm:spPr/>
      <dgm:t>
        <a:bodyPr/>
        <a:lstStyle/>
        <a:p>
          <a:endParaRPr lang="ru-RU"/>
        </a:p>
      </dgm:t>
    </dgm:pt>
    <dgm:pt modelId="{31D83D29-8859-41D3-AE45-27EA0E6B378F}" type="sibTrans" cxnId="{23CDB85F-DA59-4464-8B73-CC73577DEB3B}">
      <dgm:prSet/>
      <dgm:spPr/>
      <dgm:t>
        <a:bodyPr/>
        <a:lstStyle/>
        <a:p>
          <a:endParaRPr lang="ru-RU"/>
        </a:p>
      </dgm:t>
    </dgm:pt>
    <dgm:pt modelId="{4E830779-CD8F-40EE-B35C-C1547F128962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юго-востока - 1000 м</a:t>
          </a:r>
        </a:p>
      </dgm:t>
    </dgm:pt>
    <dgm:pt modelId="{A830932D-B0B7-491F-BFC8-7C460C515C77}" type="parTrans" cxnId="{971D3EC0-FF8E-4307-BFDF-EFB09AB3B460}">
      <dgm:prSet/>
      <dgm:spPr/>
      <dgm:t>
        <a:bodyPr/>
        <a:lstStyle/>
        <a:p>
          <a:endParaRPr lang="ru-RU"/>
        </a:p>
      </dgm:t>
    </dgm:pt>
    <dgm:pt modelId="{9EEB9622-552D-485D-AB9F-779B24CC58F4}" type="sibTrans" cxnId="{971D3EC0-FF8E-4307-BFDF-EFB09AB3B460}">
      <dgm:prSet/>
      <dgm:spPr/>
      <dgm:t>
        <a:bodyPr/>
        <a:lstStyle/>
        <a:p>
          <a:endParaRPr lang="ru-RU"/>
        </a:p>
      </dgm:t>
    </dgm:pt>
    <dgm:pt modelId="{45C98697-F62E-4070-8383-911977355524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юга - 1000 м</a:t>
          </a:r>
        </a:p>
      </dgm:t>
    </dgm:pt>
    <dgm:pt modelId="{4988895C-9F53-415D-BFCE-2FD27C077655}" type="parTrans" cxnId="{47D25283-7BA2-4CB9-A104-28058C3E583B}">
      <dgm:prSet/>
      <dgm:spPr/>
      <dgm:t>
        <a:bodyPr/>
        <a:lstStyle/>
        <a:p>
          <a:endParaRPr lang="ru-RU"/>
        </a:p>
      </dgm:t>
    </dgm:pt>
    <dgm:pt modelId="{ED499BFE-83C6-4326-9C7E-B19F0A8EDC0E}" type="sibTrans" cxnId="{47D25283-7BA2-4CB9-A104-28058C3E583B}">
      <dgm:prSet/>
      <dgm:spPr/>
      <dgm:t>
        <a:bodyPr/>
        <a:lstStyle/>
        <a:p>
          <a:endParaRPr lang="ru-RU"/>
        </a:p>
      </dgm:t>
    </dgm:pt>
    <dgm:pt modelId="{3BAA5444-2C76-4C1A-95C2-ADA5002ADAFC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юго-запада - от 0 до 1000 м</a:t>
          </a:r>
        </a:p>
      </dgm:t>
    </dgm:pt>
    <dgm:pt modelId="{2E476A91-6551-43C2-A222-FC1748CF5AA1}" type="parTrans" cxnId="{D35034F9-DAE0-4BB1-8903-4B3E172CE6ED}">
      <dgm:prSet/>
      <dgm:spPr/>
      <dgm:t>
        <a:bodyPr/>
        <a:lstStyle/>
        <a:p>
          <a:endParaRPr lang="ru-RU"/>
        </a:p>
      </dgm:t>
    </dgm:pt>
    <dgm:pt modelId="{C3CD2741-B09A-4D91-A0E9-67EB3324D114}" type="sibTrans" cxnId="{D35034F9-DAE0-4BB1-8903-4B3E172CE6ED}">
      <dgm:prSet/>
      <dgm:spPr/>
      <dgm:t>
        <a:bodyPr/>
        <a:lstStyle/>
        <a:p>
          <a:endParaRPr lang="ru-RU"/>
        </a:p>
      </dgm:t>
    </dgm:pt>
    <dgm:pt modelId="{B464E2C8-B6DE-4AA0-87E0-91522841F321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запада - от 0 м</a:t>
          </a:r>
        </a:p>
      </dgm:t>
    </dgm:pt>
    <dgm:pt modelId="{13CC4151-DD96-4B4A-A980-04C53CB50267}" type="parTrans" cxnId="{5B817E2B-E8CE-4F4D-A189-265D8D9B03E7}">
      <dgm:prSet/>
      <dgm:spPr/>
      <dgm:t>
        <a:bodyPr/>
        <a:lstStyle/>
        <a:p>
          <a:endParaRPr lang="ru-RU"/>
        </a:p>
      </dgm:t>
    </dgm:pt>
    <dgm:pt modelId="{672693BC-AE5F-4AB7-A4DE-0A3989D3D130}" type="sibTrans" cxnId="{5B817E2B-E8CE-4F4D-A189-265D8D9B03E7}">
      <dgm:prSet/>
      <dgm:spPr/>
      <dgm:t>
        <a:bodyPr/>
        <a:lstStyle/>
        <a:p>
          <a:endParaRPr lang="ru-RU"/>
        </a:p>
      </dgm:t>
    </dgm:pt>
    <dgm:pt modelId="{CDEF1151-56E3-42B7-A4B4-B1D40D11E363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с северо-запада - от 0 м</a:t>
          </a:r>
        </a:p>
      </dgm:t>
    </dgm:pt>
    <dgm:pt modelId="{85477C12-26E9-40A4-97DC-B9524E4D110B}" type="parTrans" cxnId="{8B391B89-8656-4FA8-937F-032547AFB693}">
      <dgm:prSet/>
      <dgm:spPr/>
      <dgm:t>
        <a:bodyPr/>
        <a:lstStyle/>
        <a:p>
          <a:endParaRPr lang="ru-RU"/>
        </a:p>
      </dgm:t>
    </dgm:pt>
    <dgm:pt modelId="{F2F50EFB-D460-4711-B532-FD6A998BEF04}" type="sibTrans" cxnId="{8B391B89-8656-4FA8-937F-032547AFB693}">
      <dgm:prSet/>
      <dgm:spPr/>
      <dgm:t>
        <a:bodyPr/>
        <a:lstStyle/>
        <a:p>
          <a:endParaRPr lang="ru-RU"/>
        </a:p>
      </dgm:t>
    </dgm:pt>
    <dgm:pt modelId="{40FBCD46-D1CF-4801-B906-DB8FC47785C2}">
      <dgm:prSet custT="1"/>
      <dgm:spPr>
        <a:noFill/>
        <a:ln>
          <a:noFill/>
        </a:ln>
      </dgm:spPr>
      <dgm:t>
        <a:bodyPr/>
        <a:lstStyle/>
        <a:p>
          <a:pPr>
            <a:lnSpc>
              <a:spcPct val="100000"/>
            </a:lnSpc>
          </a:pPr>
          <a:r>
            <a:rPr lang="ru-RU" sz="1100" b="1" dirty="0">
              <a:solidFill>
                <a:srgbClr val="236CB0"/>
              </a:solidFill>
            </a:rPr>
            <a:t>Граница жилой застройки</a:t>
          </a:r>
        </a:p>
      </dgm:t>
    </dgm:pt>
    <dgm:pt modelId="{EE59D10F-C0B2-4B8D-BB5A-2ED67F08D2E5}" type="parTrans" cxnId="{A6976FA2-DB12-41EC-8BF9-0FF09696B5E2}">
      <dgm:prSet/>
      <dgm:spPr/>
      <dgm:t>
        <a:bodyPr/>
        <a:lstStyle/>
        <a:p>
          <a:endParaRPr lang="ru-RU"/>
        </a:p>
      </dgm:t>
    </dgm:pt>
    <dgm:pt modelId="{71F124D8-106C-462F-80F0-F9D1A7A6AFF0}" type="sibTrans" cxnId="{A6976FA2-DB12-41EC-8BF9-0FF09696B5E2}">
      <dgm:prSet/>
      <dgm:spPr/>
      <dgm:t>
        <a:bodyPr/>
        <a:lstStyle/>
        <a:p>
          <a:endParaRPr lang="ru-RU"/>
        </a:p>
      </dgm:t>
    </dgm:pt>
    <dgm:pt modelId="{3F0F2771-2831-43FA-B963-128FB0E495D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ru-RU" sz="1100" dirty="0">
              <a:solidFill>
                <a:schemeClr val="tx1"/>
              </a:solidFill>
            </a:rPr>
            <a:t>п. Чкалова, Трактовая, 10</a:t>
          </a:r>
        </a:p>
      </dgm:t>
    </dgm:pt>
    <dgm:pt modelId="{3F1F2C80-E892-48AD-B9DD-DA989F7D4CEF}" type="parTrans" cxnId="{821B4976-1AB5-403B-BF16-A8896E15E912}">
      <dgm:prSet/>
      <dgm:spPr/>
      <dgm:t>
        <a:bodyPr/>
        <a:lstStyle/>
        <a:p>
          <a:endParaRPr lang="ru-RU"/>
        </a:p>
      </dgm:t>
    </dgm:pt>
    <dgm:pt modelId="{605C643C-EFCA-4BC3-840B-07277EEE74DC}" type="sibTrans" cxnId="{821B4976-1AB5-403B-BF16-A8896E15E912}">
      <dgm:prSet/>
      <dgm:spPr/>
      <dgm:t>
        <a:bodyPr/>
        <a:lstStyle/>
        <a:p>
          <a:endParaRPr lang="ru-RU"/>
        </a:p>
      </dgm:t>
    </dgm:pt>
    <dgm:pt modelId="{BDD18139-369C-476E-9535-946E7E3E9ACB}">
      <dgm:prSet custT="1"/>
      <dgm:spPr/>
      <dgm:t>
        <a:bodyPr/>
        <a:lstStyle/>
        <a:p>
          <a:r>
            <a:rPr lang="ru-RU" sz="1100" dirty="0"/>
            <a:t>Камское водохранилище 200 м</a:t>
          </a:r>
        </a:p>
      </dgm:t>
    </dgm:pt>
    <dgm:pt modelId="{EE7CCF11-9D96-4CB2-866C-D421DA004723}" type="parTrans" cxnId="{187BA192-F3C4-4730-8EE1-0D5F7F3F78EC}">
      <dgm:prSet/>
      <dgm:spPr/>
      <dgm:t>
        <a:bodyPr/>
        <a:lstStyle/>
        <a:p>
          <a:endParaRPr lang="ru-RU"/>
        </a:p>
      </dgm:t>
    </dgm:pt>
    <dgm:pt modelId="{5EBBE6A3-4E27-489A-AA5A-EAF7E9CBE0C0}" type="sibTrans" cxnId="{187BA192-F3C4-4730-8EE1-0D5F7F3F78EC}">
      <dgm:prSet/>
      <dgm:spPr/>
      <dgm:t>
        <a:bodyPr/>
        <a:lstStyle/>
        <a:p>
          <a:endParaRPr lang="ru-RU"/>
        </a:p>
      </dgm:t>
    </dgm:pt>
    <dgm:pt modelId="{77E44195-55FD-4498-AA41-FEFC44B16421}">
      <dgm:prSet custT="1"/>
      <dgm:spPr>
        <a:noFill/>
        <a:ln>
          <a:noFill/>
        </a:ln>
      </dgm:spPr>
      <dgm:t>
        <a:bodyPr/>
        <a:lstStyle/>
        <a:p>
          <a:r>
            <a:rPr lang="ru-RU" sz="1100" b="1" dirty="0">
              <a:solidFill>
                <a:srgbClr val="236CB0"/>
              </a:solidFill>
            </a:rPr>
            <a:t>Зона залегания полезных ископаемых</a:t>
          </a:r>
        </a:p>
      </dgm:t>
    </dgm:pt>
    <dgm:pt modelId="{B313F5A5-98C6-4F9D-A36B-C794C05E5A50}" type="parTrans" cxnId="{ED82CEDD-6F73-4BF7-A823-51A27E84C00E}">
      <dgm:prSet/>
      <dgm:spPr/>
      <dgm:t>
        <a:bodyPr/>
        <a:lstStyle/>
        <a:p>
          <a:endParaRPr lang="ru-RU"/>
        </a:p>
      </dgm:t>
    </dgm:pt>
    <dgm:pt modelId="{4F8D94F0-4141-4772-9E9C-74377BA2DBC5}" type="sibTrans" cxnId="{ED82CEDD-6F73-4BF7-A823-51A27E84C00E}">
      <dgm:prSet/>
      <dgm:spPr/>
      <dgm:t>
        <a:bodyPr/>
        <a:lstStyle/>
        <a:p>
          <a:endParaRPr lang="ru-RU"/>
        </a:p>
      </dgm:t>
    </dgm:pt>
    <dgm:pt modelId="{16592EFB-3845-46E3-95D9-CF7F2C68F8A3}">
      <dgm:prSet custT="1"/>
      <dgm:spPr/>
      <dgm:t>
        <a:bodyPr/>
        <a:lstStyle/>
        <a:p>
          <a:r>
            <a:rPr lang="ru-RU" sz="1100" b="0" dirty="0"/>
            <a:t>в недрах под земельным участком - Остальная площадь Верхнекамского месторождения калийно-магниевых солей. Участок расположен в пределах горного отвода ПАО «Уралкалий» (шахтное поле БКПРУ-1), лицензия ПЕМ 02544 ТЭ для добычи калийной магниевой и каменной солей</a:t>
          </a:r>
        </a:p>
      </dgm:t>
    </dgm:pt>
    <dgm:pt modelId="{CC00A3AF-158A-49C8-B15D-953FCD80852D}" type="parTrans" cxnId="{5DC5E3FE-58BE-4411-85F9-623D93838B55}">
      <dgm:prSet/>
      <dgm:spPr/>
      <dgm:t>
        <a:bodyPr/>
        <a:lstStyle/>
        <a:p>
          <a:endParaRPr lang="ru-RU"/>
        </a:p>
      </dgm:t>
    </dgm:pt>
    <dgm:pt modelId="{3F42A156-D8B2-4EB6-8C96-AE6ABA8828D3}" type="sibTrans" cxnId="{5DC5E3FE-58BE-4411-85F9-623D93838B55}">
      <dgm:prSet/>
      <dgm:spPr/>
      <dgm:t>
        <a:bodyPr/>
        <a:lstStyle/>
        <a:p>
          <a:endParaRPr lang="ru-RU"/>
        </a:p>
      </dgm:t>
    </dgm:pt>
    <dgm:pt modelId="{B9CA24D1-F1E4-4A09-A881-D63A881C1511}">
      <dgm:prSet phldrT="[Текст]" custT="1"/>
      <dgm:spPr>
        <a:noFill/>
      </dgm:spPr>
      <dgm:t>
        <a:bodyPr/>
        <a:lstStyle/>
        <a:p>
          <a:pPr>
            <a:lnSpc>
              <a:spcPct val="100000"/>
            </a:lnSpc>
          </a:pPr>
          <a:r>
            <a:rPr lang="ru-RU" sz="1100" b="1" kern="1200" dirty="0">
              <a:solidFill>
                <a:srgbClr val="236CB0"/>
              </a:solidFill>
              <a:latin typeface="Arial"/>
              <a:ea typeface="Batang"/>
              <a:cs typeface="Arial"/>
            </a:rPr>
            <a:t>Водоохранная зона и прибрежная защитная полоса</a:t>
          </a:r>
        </a:p>
      </dgm:t>
    </dgm:pt>
    <dgm:pt modelId="{7CC99C2D-5EB4-445B-A6D7-5279F3252196}" type="parTrans" cxnId="{87CF6C0A-FD87-4984-9071-C3EDFE0E4C8C}">
      <dgm:prSet/>
      <dgm:spPr/>
      <dgm:t>
        <a:bodyPr/>
        <a:lstStyle/>
        <a:p>
          <a:endParaRPr lang="ru-RU"/>
        </a:p>
      </dgm:t>
    </dgm:pt>
    <dgm:pt modelId="{5E2D05D2-2858-4637-8D85-B892793E9ED9}" type="sibTrans" cxnId="{87CF6C0A-FD87-4984-9071-C3EDFE0E4C8C}">
      <dgm:prSet/>
      <dgm:spPr/>
      <dgm:t>
        <a:bodyPr/>
        <a:lstStyle/>
        <a:p>
          <a:endParaRPr lang="ru-RU"/>
        </a:p>
      </dgm:t>
    </dgm:pt>
    <dgm:pt modelId="{DB5C835E-4EED-4F91-8EC6-09A008AA55B6}">
      <dgm:prSet custT="1"/>
      <dgm:spPr/>
      <dgm:t>
        <a:bodyPr/>
        <a:lstStyle/>
        <a:p>
          <a:r>
            <a:rPr lang="ru-RU" sz="11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исследуемая территория по устойчивости относительно карстовых деформаций относится к категории VI (устойчивые территории, образование карстовых деформаций исключается). По интенсивности образования карстовых деформаций: практически неопасная</a:t>
          </a:r>
          <a:endParaRPr lang="ru-RU" sz="1100" b="0" dirty="0">
            <a:solidFill>
              <a:schemeClr val="tx1"/>
            </a:solidFill>
          </a:endParaRPr>
        </a:p>
      </dgm:t>
    </dgm:pt>
    <dgm:pt modelId="{82C5A1AA-72F0-4CD5-BCE7-6399D84A9E38}" type="parTrans" cxnId="{3910DB49-FCF2-42C6-91AF-C8D73EC0D8BA}">
      <dgm:prSet/>
      <dgm:spPr/>
      <dgm:t>
        <a:bodyPr/>
        <a:lstStyle/>
        <a:p>
          <a:endParaRPr lang="ru-RU"/>
        </a:p>
      </dgm:t>
    </dgm:pt>
    <dgm:pt modelId="{32941A64-121C-40F8-B5DC-AA4DB3B1466E}" type="sibTrans" cxnId="{3910DB49-FCF2-42C6-91AF-C8D73EC0D8BA}">
      <dgm:prSet/>
      <dgm:spPr/>
      <dgm:t>
        <a:bodyPr/>
        <a:lstStyle/>
        <a:p>
          <a:endParaRPr lang="ru-RU"/>
        </a:p>
      </dgm:t>
    </dgm:pt>
    <dgm:pt modelId="{8F69AD60-4296-40E3-911D-B49F24275164}">
      <dgm:prSet custT="1"/>
      <dgm:spPr>
        <a:noFill/>
        <a:ln>
          <a:noFill/>
        </a:ln>
      </dgm:spPr>
      <dgm:t>
        <a:bodyPr/>
        <a:lstStyle/>
        <a:p>
          <a:r>
            <a:rPr lang="ru-RU" sz="1200" b="1" dirty="0">
              <a:solidFill>
                <a:schemeClr val="accent1"/>
              </a:solidFill>
            </a:rPr>
            <a:t>Инженерно-геологические процессы</a:t>
          </a:r>
        </a:p>
      </dgm:t>
    </dgm:pt>
    <dgm:pt modelId="{48660BA9-A569-4D5F-B2D3-B05B05CD1E89}" type="parTrans" cxnId="{C8312DED-6C60-4227-AC31-2FFE85E6D4CB}">
      <dgm:prSet/>
      <dgm:spPr/>
      <dgm:t>
        <a:bodyPr/>
        <a:lstStyle/>
        <a:p>
          <a:endParaRPr lang="ru-RU"/>
        </a:p>
      </dgm:t>
    </dgm:pt>
    <dgm:pt modelId="{509A16D1-D0D1-4F08-BC5D-DE0849321626}" type="sibTrans" cxnId="{C8312DED-6C60-4227-AC31-2FFE85E6D4CB}">
      <dgm:prSet/>
      <dgm:spPr/>
      <dgm:t>
        <a:bodyPr/>
        <a:lstStyle/>
        <a:p>
          <a:endParaRPr lang="ru-RU"/>
        </a:p>
      </dgm:t>
    </dgm:pt>
    <dgm:pt modelId="{E08FA8D2-04F4-4C81-8662-2254534712A7}" type="pres">
      <dgm:prSet presAssocID="{71B2C176-9B9A-4825-A4FD-96B359D76F21}" presName="linear" presStyleCnt="0">
        <dgm:presLayoutVars>
          <dgm:animLvl val="lvl"/>
          <dgm:resizeHandles val="exact"/>
        </dgm:presLayoutVars>
      </dgm:prSet>
      <dgm:spPr/>
    </dgm:pt>
    <dgm:pt modelId="{2555547A-C666-43BF-8937-813C9672734D}" type="pres">
      <dgm:prSet presAssocID="{0C18988D-68BA-4A5A-9C3E-50CBC6491C34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0E3DA781-8379-41D7-A1E7-6A328512B814}" type="pres">
      <dgm:prSet presAssocID="{0C18988D-68BA-4A5A-9C3E-50CBC6491C34}" presName="childText" presStyleLbl="revTx" presStyleIdx="0" presStyleCnt="5">
        <dgm:presLayoutVars>
          <dgm:bulletEnabled val="1"/>
        </dgm:presLayoutVars>
      </dgm:prSet>
      <dgm:spPr/>
    </dgm:pt>
    <dgm:pt modelId="{54306FEB-5E21-4B94-B397-B8A61830D573}" type="pres">
      <dgm:prSet presAssocID="{40FBCD46-D1CF-4801-B906-DB8FC47785C2}" presName="parentText" presStyleLbl="node1" presStyleIdx="1" presStyleCnt="5" custLinFactNeighborX="552" custLinFactNeighborY="58317">
        <dgm:presLayoutVars>
          <dgm:chMax val="0"/>
          <dgm:bulletEnabled val="1"/>
        </dgm:presLayoutVars>
      </dgm:prSet>
      <dgm:spPr/>
    </dgm:pt>
    <dgm:pt modelId="{1A4FAE9D-8F0D-47F4-B80E-38C2A8DBF8F5}" type="pres">
      <dgm:prSet presAssocID="{40FBCD46-D1CF-4801-B906-DB8FC47785C2}" presName="childText" presStyleLbl="revTx" presStyleIdx="1" presStyleCnt="5">
        <dgm:presLayoutVars>
          <dgm:bulletEnabled val="1"/>
        </dgm:presLayoutVars>
      </dgm:prSet>
      <dgm:spPr/>
    </dgm:pt>
    <dgm:pt modelId="{285D0F2F-D094-46E1-8231-086B04FEDFEE}" type="pres">
      <dgm:prSet presAssocID="{B9CA24D1-F1E4-4A09-A881-D63A881C1511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61DCC99D-76EA-4A7B-87EA-EF8CFF8BF477}" type="pres">
      <dgm:prSet presAssocID="{B9CA24D1-F1E4-4A09-A881-D63A881C1511}" presName="childText" presStyleLbl="revTx" presStyleIdx="2" presStyleCnt="5">
        <dgm:presLayoutVars>
          <dgm:bulletEnabled val="1"/>
        </dgm:presLayoutVars>
      </dgm:prSet>
      <dgm:spPr/>
    </dgm:pt>
    <dgm:pt modelId="{91E25D43-6669-4CB4-8C99-64035042B127}" type="pres">
      <dgm:prSet presAssocID="{77E44195-55FD-4498-AA41-FEFC44B16421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EFCE2E81-C3BC-4ECA-86BA-503B5611A5FB}" type="pres">
      <dgm:prSet presAssocID="{77E44195-55FD-4498-AA41-FEFC44B16421}" presName="childText" presStyleLbl="revTx" presStyleIdx="3" presStyleCnt="5">
        <dgm:presLayoutVars>
          <dgm:bulletEnabled val="1"/>
        </dgm:presLayoutVars>
      </dgm:prSet>
      <dgm:spPr/>
    </dgm:pt>
    <dgm:pt modelId="{13B2103E-8B31-43A4-8950-53DB8E4E9390}" type="pres">
      <dgm:prSet presAssocID="{8F69AD60-4296-40E3-911D-B49F24275164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13CA5C89-5117-4F57-A551-0F1AF0D41FC2}" type="pres">
      <dgm:prSet presAssocID="{8F69AD60-4296-40E3-911D-B49F24275164}" presName="childText" presStyleLbl="revTx" presStyleIdx="4" presStyleCnt="5">
        <dgm:presLayoutVars>
          <dgm:bulletEnabled val="1"/>
        </dgm:presLayoutVars>
      </dgm:prSet>
      <dgm:spPr/>
    </dgm:pt>
  </dgm:ptLst>
  <dgm:cxnLst>
    <dgm:cxn modelId="{08440304-1ACB-48D1-B47D-E48C5E1FFB63}" type="presOf" srcId="{402CB459-F8C5-4B76-86A8-83863FF64EE7}" destId="{0E3DA781-8379-41D7-A1E7-6A328512B814}" srcOrd="0" destOrd="2" presId="urn:microsoft.com/office/officeart/2005/8/layout/vList2"/>
    <dgm:cxn modelId="{8CBD8B04-AF38-4E6E-A1F4-F183BF61F13D}" type="presOf" srcId="{0C18988D-68BA-4A5A-9C3E-50CBC6491C34}" destId="{2555547A-C666-43BF-8937-813C9672734D}" srcOrd="0" destOrd="0" presId="urn:microsoft.com/office/officeart/2005/8/layout/vList2"/>
    <dgm:cxn modelId="{87CF6C0A-FD87-4984-9071-C3EDFE0E4C8C}" srcId="{71B2C176-9B9A-4825-A4FD-96B359D76F21}" destId="{B9CA24D1-F1E4-4A09-A881-D63A881C1511}" srcOrd="2" destOrd="0" parTransId="{7CC99C2D-5EB4-445B-A6D7-5279F3252196}" sibTransId="{5E2D05D2-2858-4637-8D85-B892793E9ED9}"/>
    <dgm:cxn modelId="{A9A9A015-116C-455F-836F-5A692551638A}" srcId="{0C18988D-68BA-4A5A-9C3E-50CBC6491C34}" destId="{A6338805-7FB0-48E7-B54E-23C654D1EA15}" srcOrd="1" destOrd="0" parTransId="{8496A5E2-B856-49A5-9C30-D19EB87641FB}" sibTransId="{07897F02-A4B6-40C5-9F5F-2CE17D613652}"/>
    <dgm:cxn modelId="{8F4B3C16-08A4-4FC7-945C-D0A3566440E5}" type="presOf" srcId="{45C98697-F62E-4070-8383-911977355524}" destId="{0E3DA781-8379-41D7-A1E7-6A328512B814}" srcOrd="0" destOrd="4" presId="urn:microsoft.com/office/officeart/2005/8/layout/vList2"/>
    <dgm:cxn modelId="{5E231C28-2DB2-4AB9-87A0-83972CE7D25F}" type="presOf" srcId="{A6338805-7FB0-48E7-B54E-23C654D1EA15}" destId="{0E3DA781-8379-41D7-A1E7-6A328512B814}" srcOrd="0" destOrd="1" presId="urn:microsoft.com/office/officeart/2005/8/layout/vList2"/>
    <dgm:cxn modelId="{5B817E2B-E8CE-4F4D-A189-265D8D9B03E7}" srcId="{0C18988D-68BA-4A5A-9C3E-50CBC6491C34}" destId="{B464E2C8-B6DE-4AA0-87E0-91522841F321}" srcOrd="6" destOrd="0" parTransId="{13CC4151-DD96-4B4A-A980-04C53CB50267}" sibTransId="{672693BC-AE5F-4AB7-A4DE-0A3989D3D130}"/>
    <dgm:cxn modelId="{C8A6582C-4E0B-492F-B5AF-575768CD9092}" srcId="{0C18988D-68BA-4A5A-9C3E-50CBC6491C34}" destId="{9BAA6A31-C748-41BC-8E68-FCBFD28FCB55}" srcOrd="0" destOrd="0" parTransId="{55238AB9-93DC-4214-B341-87BEAE4157C4}" sibTransId="{B3077955-9FEA-4F47-861E-9731987D39AC}"/>
    <dgm:cxn modelId="{23CDB85F-DA59-4464-8B73-CC73577DEB3B}" srcId="{0C18988D-68BA-4A5A-9C3E-50CBC6491C34}" destId="{402CB459-F8C5-4B76-86A8-83863FF64EE7}" srcOrd="2" destOrd="0" parTransId="{B619C63F-758B-4F1A-874A-BD3245C2A4C1}" sibTransId="{31D83D29-8859-41D3-AE45-27EA0E6B378F}"/>
    <dgm:cxn modelId="{6B41B941-F334-4AEA-B76C-EA3FB00A7F09}" srcId="{71B2C176-9B9A-4825-A4FD-96B359D76F21}" destId="{0C18988D-68BA-4A5A-9C3E-50CBC6491C34}" srcOrd="0" destOrd="0" parTransId="{0E138402-AF11-4D89-8965-F13171702A45}" sibTransId="{B024FD32-31BC-4A37-8937-EB3671C9D095}"/>
    <dgm:cxn modelId="{82609E69-A84A-402A-80ED-EE5A242A7EA2}" type="presOf" srcId="{CDEF1151-56E3-42B7-A4B4-B1D40D11E363}" destId="{0E3DA781-8379-41D7-A1E7-6A328512B814}" srcOrd="0" destOrd="7" presId="urn:microsoft.com/office/officeart/2005/8/layout/vList2"/>
    <dgm:cxn modelId="{3910DB49-FCF2-42C6-91AF-C8D73EC0D8BA}" srcId="{8F69AD60-4296-40E3-911D-B49F24275164}" destId="{DB5C835E-4EED-4F91-8EC6-09A008AA55B6}" srcOrd="0" destOrd="0" parTransId="{82C5A1AA-72F0-4CD5-BCE7-6399D84A9E38}" sibTransId="{32941A64-121C-40F8-B5DC-AA4DB3B1466E}"/>
    <dgm:cxn modelId="{821B4976-1AB5-403B-BF16-A8896E15E912}" srcId="{40FBCD46-D1CF-4801-B906-DB8FC47785C2}" destId="{3F0F2771-2831-43FA-B963-128FB0E495D1}" srcOrd="0" destOrd="0" parTransId="{3F1F2C80-E892-48AD-B9DD-DA989F7D4CEF}" sibTransId="{605C643C-EFCA-4BC3-840B-07277EEE74DC}"/>
    <dgm:cxn modelId="{47D25283-7BA2-4CB9-A104-28058C3E583B}" srcId="{0C18988D-68BA-4A5A-9C3E-50CBC6491C34}" destId="{45C98697-F62E-4070-8383-911977355524}" srcOrd="4" destOrd="0" parTransId="{4988895C-9F53-415D-BFCE-2FD27C077655}" sibTransId="{ED499BFE-83C6-4326-9C7E-B19F0A8EDC0E}"/>
    <dgm:cxn modelId="{6E2FCA83-1230-4F15-80D3-0134A8FC06BF}" type="presOf" srcId="{71B2C176-9B9A-4825-A4FD-96B359D76F21}" destId="{E08FA8D2-04F4-4C81-8662-2254534712A7}" srcOrd="0" destOrd="0" presId="urn:microsoft.com/office/officeart/2005/8/layout/vList2"/>
    <dgm:cxn modelId="{04BBDA86-1E4B-4955-8706-58F7D00951A4}" type="presOf" srcId="{40FBCD46-D1CF-4801-B906-DB8FC47785C2}" destId="{54306FEB-5E21-4B94-B397-B8A61830D573}" srcOrd="0" destOrd="0" presId="urn:microsoft.com/office/officeart/2005/8/layout/vList2"/>
    <dgm:cxn modelId="{8B391B89-8656-4FA8-937F-032547AFB693}" srcId="{0C18988D-68BA-4A5A-9C3E-50CBC6491C34}" destId="{CDEF1151-56E3-42B7-A4B4-B1D40D11E363}" srcOrd="7" destOrd="0" parTransId="{85477C12-26E9-40A4-97DC-B9524E4D110B}" sibTransId="{F2F50EFB-D460-4711-B532-FD6A998BEF04}"/>
    <dgm:cxn modelId="{187BA192-F3C4-4730-8EE1-0D5F7F3F78EC}" srcId="{B9CA24D1-F1E4-4A09-A881-D63A881C1511}" destId="{BDD18139-369C-476E-9535-946E7E3E9ACB}" srcOrd="0" destOrd="0" parTransId="{EE7CCF11-9D96-4CB2-866C-D421DA004723}" sibTransId="{5EBBE6A3-4E27-489A-AA5A-EAF7E9CBE0C0}"/>
    <dgm:cxn modelId="{6C688299-E56C-4D28-B07F-D3308E6F331E}" type="presOf" srcId="{16592EFB-3845-46E3-95D9-CF7F2C68F8A3}" destId="{EFCE2E81-C3BC-4ECA-86BA-503B5611A5FB}" srcOrd="0" destOrd="0" presId="urn:microsoft.com/office/officeart/2005/8/layout/vList2"/>
    <dgm:cxn modelId="{90B56E9D-226B-490D-9607-A00B6C04B75D}" type="presOf" srcId="{DB5C835E-4EED-4F91-8EC6-09A008AA55B6}" destId="{13CA5C89-5117-4F57-A551-0F1AF0D41FC2}" srcOrd="0" destOrd="0" presId="urn:microsoft.com/office/officeart/2005/8/layout/vList2"/>
    <dgm:cxn modelId="{A6976FA2-DB12-41EC-8BF9-0FF09696B5E2}" srcId="{71B2C176-9B9A-4825-A4FD-96B359D76F21}" destId="{40FBCD46-D1CF-4801-B906-DB8FC47785C2}" srcOrd="1" destOrd="0" parTransId="{EE59D10F-C0B2-4B8D-BB5A-2ED67F08D2E5}" sibTransId="{71F124D8-106C-462F-80F0-F9D1A7A6AFF0}"/>
    <dgm:cxn modelId="{CB32DCBE-BC57-4913-8BE2-3C3DFE444686}" type="presOf" srcId="{4E830779-CD8F-40EE-B35C-C1547F128962}" destId="{0E3DA781-8379-41D7-A1E7-6A328512B814}" srcOrd="0" destOrd="3" presId="urn:microsoft.com/office/officeart/2005/8/layout/vList2"/>
    <dgm:cxn modelId="{E21496BF-147F-4594-BE3A-07587C67FF29}" type="presOf" srcId="{77E44195-55FD-4498-AA41-FEFC44B16421}" destId="{91E25D43-6669-4CB4-8C99-64035042B127}" srcOrd="0" destOrd="0" presId="urn:microsoft.com/office/officeart/2005/8/layout/vList2"/>
    <dgm:cxn modelId="{971D3EC0-FF8E-4307-BFDF-EFB09AB3B460}" srcId="{0C18988D-68BA-4A5A-9C3E-50CBC6491C34}" destId="{4E830779-CD8F-40EE-B35C-C1547F128962}" srcOrd="3" destOrd="0" parTransId="{A830932D-B0B7-491F-BFC8-7C460C515C77}" sibTransId="{9EEB9622-552D-485D-AB9F-779B24CC58F4}"/>
    <dgm:cxn modelId="{16406DC0-F440-4D55-A87E-DC067C73DC99}" type="presOf" srcId="{3F0F2771-2831-43FA-B963-128FB0E495D1}" destId="{1A4FAE9D-8F0D-47F4-B80E-38C2A8DBF8F5}" srcOrd="0" destOrd="0" presId="urn:microsoft.com/office/officeart/2005/8/layout/vList2"/>
    <dgm:cxn modelId="{ECC697C3-2F3B-4A35-88D1-3D436ACF078C}" type="presOf" srcId="{9BAA6A31-C748-41BC-8E68-FCBFD28FCB55}" destId="{0E3DA781-8379-41D7-A1E7-6A328512B814}" srcOrd="0" destOrd="0" presId="urn:microsoft.com/office/officeart/2005/8/layout/vList2"/>
    <dgm:cxn modelId="{8BFC67D8-1FAD-418F-82FA-D6415D5A9F84}" type="presOf" srcId="{B464E2C8-B6DE-4AA0-87E0-91522841F321}" destId="{0E3DA781-8379-41D7-A1E7-6A328512B814}" srcOrd="0" destOrd="6" presId="urn:microsoft.com/office/officeart/2005/8/layout/vList2"/>
    <dgm:cxn modelId="{ED82CEDD-6F73-4BF7-A823-51A27E84C00E}" srcId="{71B2C176-9B9A-4825-A4FD-96B359D76F21}" destId="{77E44195-55FD-4498-AA41-FEFC44B16421}" srcOrd="3" destOrd="0" parTransId="{B313F5A5-98C6-4F9D-A36B-C794C05E5A50}" sibTransId="{4F8D94F0-4141-4772-9E9C-74377BA2DBC5}"/>
    <dgm:cxn modelId="{881EF5E3-FC23-4434-A5D0-3D1CCCD2EB98}" type="presOf" srcId="{B9CA24D1-F1E4-4A09-A881-D63A881C1511}" destId="{285D0F2F-D094-46E1-8231-086B04FEDFEE}" srcOrd="0" destOrd="0" presId="urn:microsoft.com/office/officeart/2005/8/layout/vList2"/>
    <dgm:cxn modelId="{C8312DED-6C60-4227-AC31-2FFE85E6D4CB}" srcId="{71B2C176-9B9A-4825-A4FD-96B359D76F21}" destId="{8F69AD60-4296-40E3-911D-B49F24275164}" srcOrd="4" destOrd="0" parTransId="{48660BA9-A569-4D5F-B2D3-B05B05CD1E89}" sibTransId="{509A16D1-D0D1-4F08-BC5D-DE0849321626}"/>
    <dgm:cxn modelId="{867437F4-AF94-49FE-95F7-A50CBB96FE36}" type="presOf" srcId="{3BAA5444-2C76-4C1A-95C2-ADA5002ADAFC}" destId="{0E3DA781-8379-41D7-A1E7-6A328512B814}" srcOrd="0" destOrd="5" presId="urn:microsoft.com/office/officeart/2005/8/layout/vList2"/>
    <dgm:cxn modelId="{D35034F9-DAE0-4BB1-8903-4B3E172CE6ED}" srcId="{0C18988D-68BA-4A5A-9C3E-50CBC6491C34}" destId="{3BAA5444-2C76-4C1A-95C2-ADA5002ADAFC}" srcOrd="5" destOrd="0" parTransId="{2E476A91-6551-43C2-A222-FC1748CF5AA1}" sibTransId="{C3CD2741-B09A-4D91-A0E9-67EB3324D114}"/>
    <dgm:cxn modelId="{A80E84FC-5EAA-4565-AC67-B13F969C52A1}" type="presOf" srcId="{8F69AD60-4296-40E3-911D-B49F24275164}" destId="{13B2103E-8B31-43A4-8950-53DB8E4E9390}" srcOrd="0" destOrd="0" presId="urn:microsoft.com/office/officeart/2005/8/layout/vList2"/>
    <dgm:cxn modelId="{BD9BD0FE-5CA9-445A-8713-AD6AF53633A8}" type="presOf" srcId="{BDD18139-369C-476E-9535-946E7E3E9ACB}" destId="{61DCC99D-76EA-4A7B-87EA-EF8CFF8BF477}" srcOrd="0" destOrd="0" presId="urn:microsoft.com/office/officeart/2005/8/layout/vList2"/>
    <dgm:cxn modelId="{5DC5E3FE-58BE-4411-85F9-623D93838B55}" srcId="{77E44195-55FD-4498-AA41-FEFC44B16421}" destId="{16592EFB-3845-46E3-95D9-CF7F2C68F8A3}" srcOrd="0" destOrd="0" parTransId="{CC00A3AF-158A-49C8-B15D-953FCD80852D}" sibTransId="{3F42A156-D8B2-4EB6-8C96-AE6ABA8828D3}"/>
    <dgm:cxn modelId="{A996216D-E40D-4EF5-87E7-66B733CADA9C}" type="presParOf" srcId="{E08FA8D2-04F4-4C81-8662-2254534712A7}" destId="{2555547A-C666-43BF-8937-813C9672734D}" srcOrd="0" destOrd="0" presId="urn:microsoft.com/office/officeart/2005/8/layout/vList2"/>
    <dgm:cxn modelId="{657AD50D-A655-4C8E-B83F-BD8D3A13410C}" type="presParOf" srcId="{E08FA8D2-04F4-4C81-8662-2254534712A7}" destId="{0E3DA781-8379-41D7-A1E7-6A328512B814}" srcOrd="1" destOrd="0" presId="urn:microsoft.com/office/officeart/2005/8/layout/vList2"/>
    <dgm:cxn modelId="{80A8BA42-FEF8-4040-9FB7-74A27C4B1AC2}" type="presParOf" srcId="{E08FA8D2-04F4-4C81-8662-2254534712A7}" destId="{54306FEB-5E21-4B94-B397-B8A61830D573}" srcOrd="2" destOrd="0" presId="urn:microsoft.com/office/officeart/2005/8/layout/vList2"/>
    <dgm:cxn modelId="{02FB9B3B-F1B1-4377-84ED-2DBA7D2B2EF3}" type="presParOf" srcId="{E08FA8D2-04F4-4C81-8662-2254534712A7}" destId="{1A4FAE9D-8F0D-47F4-B80E-38C2A8DBF8F5}" srcOrd="3" destOrd="0" presId="urn:microsoft.com/office/officeart/2005/8/layout/vList2"/>
    <dgm:cxn modelId="{27AA87B8-54E5-436F-B09E-8FA0D7C841BD}" type="presParOf" srcId="{E08FA8D2-04F4-4C81-8662-2254534712A7}" destId="{285D0F2F-D094-46E1-8231-086B04FEDFEE}" srcOrd="4" destOrd="0" presId="urn:microsoft.com/office/officeart/2005/8/layout/vList2"/>
    <dgm:cxn modelId="{A9D5C4E4-DC2F-4379-8D04-BA71032EBB20}" type="presParOf" srcId="{E08FA8D2-04F4-4C81-8662-2254534712A7}" destId="{61DCC99D-76EA-4A7B-87EA-EF8CFF8BF477}" srcOrd="5" destOrd="0" presId="urn:microsoft.com/office/officeart/2005/8/layout/vList2"/>
    <dgm:cxn modelId="{23AE610E-5834-4E0B-9F5A-D2D073998ABB}" type="presParOf" srcId="{E08FA8D2-04F4-4C81-8662-2254534712A7}" destId="{91E25D43-6669-4CB4-8C99-64035042B127}" srcOrd="6" destOrd="0" presId="urn:microsoft.com/office/officeart/2005/8/layout/vList2"/>
    <dgm:cxn modelId="{D1935705-3FE8-4A2B-AD0E-42BA5C4A7E02}" type="presParOf" srcId="{E08FA8D2-04F4-4C81-8662-2254534712A7}" destId="{EFCE2E81-C3BC-4ECA-86BA-503B5611A5FB}" srcOrd="7" destOrd="0" presId="urn:microsoft.com/office/officeart/2005/8/layout/vList2"/>
    <dgm:cxn modelId="{2E89B2A6-17E0-41C6-8CF9-E6EB636C8C43}" type="presParOf" srcId="{E08FA8D2-04F4-4C81-8662-2254534712A7}" destId="{13B2103E-8B31-43A4-8950-53DB8E4E9390}" srcOrd="8" destOrd="0" presId="urn:microsoft.com/office/officeart/2005/8/layout/vList2"/>
    <dgm:cxn modelId="{6282947B-B648-468F-9C50-99D4764CE89E}" type="presParOf" srcId="{E08FA8D2-04F4-4C81-8662-2254534712A7}" destId="{13CA5C89-5117-4F57-A551-0F1AF0D41FC2}" srcOrd="9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730CCAB-5962-4B39-9CAC-A693DC66A1AC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D13EC5A-FEE7-4A91-99C4-86881A8534DD}">
      <dgm:prSet phldrT="[Текст]" custT="1"/>
      <dgm:spPr>
        <a:noFill/>
      </dgm:spPr>
      <dgm:t>
        <a:bodyPr/>
        <a:lstStyle/>
        <a:p>
          <a:r>
            <a:rPr lang="ru-RU" sz="1600" b="1" dirty="0">
              <a:solidFill>
                <a:srgbClr val="D605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Источники выброса загрязняющих веществ на период строительства</a:t>
          </a:r>
        </a:p>
      </dgm:t>
    </dgm:pt>
    <dgm:pt modelId="{4209E586-D620-4BD9-9C5B-B079849CA10A}" type="parTrans" cxnId="{DC8F9AF0-2C2C-47AA-A8C0-C3B5368A68EF}">
      <dgm:prSet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E21948E-E9E1-440A-9748-2F099660FECE}" type="sibTrans" cxnId="{DC8F9AF0-2C2C-47AA-A8C0-C3B5368A68EF}">
      <dgm:prSet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2793D38-5D10-4A2F-8150-FBA97C15B133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окрасочные работы</a:t>
          </a:r>
        </a:p>
      </dgm:t>
    </dgm:pt>
    <dgm:pt modelId="{274E10D9-E182-43AF-B97C-33F285D0A02E}" type="parTrans" cxnId="{D84265E7-EFE0-4B89-8D83-4EABF034CE5E}">
      <dgm:prSet custT="1"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BF76BFA-F011-4765-8EE3-2CFEA0649704}" type="sibTrans" cxnId="{D84265E7-EFE0-4B89-8D83-4EABF034CE5E}">
      <dgm:prSet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4B9901D-BB4A-4692-97C3-4D5C1FF4BBA1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Земляные работы</a:t>
          </a:r>
        </a:p>
      </dgm:t>
    </dgm:pt>
    <dgm:pt modelId="{9488F867-6E66-4255-9391-EE92FCA9E008}" type="parTrans" cxnId="{3DFA998E-27B6-4F9A-84DF-ADF7CA23813C}">
      <dgm:prSet custT="1"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61FCAF5-2B84-430B-A393-F66A47E058A1}" type="sibTrans" cxnId="{3DFA998E-27B6-4F9A-84DF-ADF7CA23813C}">
      <dgm:prSet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234BFBE-066C-4158-90E9-D6DEECDA5241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ересыпка сыпучих материалов</a:t>
          </a:r>
        </a:p>
      </dgm:t>
    </dgm:pt>
    <dgm:pt modelId="{1F33ECF5-28E5-4108-AE44-92E759F32D68}" type="parTrans" cxnId="{A42E28EB-DE3E-4C48-86E0-D85DF1037DA2}">
      <dgm:prSet custT="1"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AD42D94-15CC-4468-A2BC-9A9B8DD68BA3}" type="sibTrans" cxnId="{A42E28EB-DE3E-4C48-86E0-D85DF1037DA2}">
      <dgm:prSet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B3029E7-0AD0-48B4-8469-E91DB3217008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Дизельная электростанция</a:t>
          </a:r>
        </a:p>
      </dgm:t>
    </dgm:pt>
    <dgm:pt modelId="{2EA5AED0-90AA-4B7E-A3E3-57B4537C21CB}" type="parTrans" cxnId="{AFCF1494-9BC0-42C8-BDDA-011E85D89C17}">
      <dgm:prSet custT="1"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75F795C-1DC7-4F72-991F-BA930AFC5AFA}" type="sibTrans" cxnId="{AFCF1494-9BC0-42C8-BDDA-011E85D89C17}">
      <dgm:prSet/>
      <dgm:spPr/>
      <dgm:t>
        <a:bodyPr/>
        <a:lstStyle/>
        <a:p>
          <a:endParaRPr lang="ru-RU" sz="1400" b="1">
            <a:solidFill>
              <a:srgbClr val="236CB0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68A5EB6-731B-4AD2-A342-59D3B1E5DEBD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Сварочные работы</a:t>
          </a:r>
        </a:p>
      </dgm:t>
    </dgm:pt>
    <dgm:pt modelId="{8C67B5CE-786E-40D3-B584-08361C2A65CB}" type="parTrans" cxnId="{0725A27A-891B-4BA7-AC27-4672CEDE1ED8}">
      <dgm:prSet/>
      <dgm:spPr/>
      <dgm:t>
        <a:bodyPr/>
        <a:lstStyle/>
        <a:p>
          <a:endParaRPr lang="ru-RU">
            <a:solidFill>
              <a:srgbClr val="236CB0"/>
            </a:solidFill>
            <a:latin typeface="+mn-lt"/>
          </a:endParaRPr>
        </a:p>
      </dgm:t>
    </dgm:pt>
    <dgm:pt modelId="{44C61830-7785-4F9A-A24A-146252E35BA0}" type="sibTrans" cxnId="{0725A27A-891B-4BA7-AC27-4672CEDE1ED8}">
      <dgm:prSet/>
      <dgm:spPr/>
      <dgm:t>
        <a:bodyPr/>
        <a:lstStyle/>
        <a:p>
          <a:endParaRPr lang="ru-RU">
            <a:solidFill>
              <a:srgbClr val="236CB0"/>
            </a:solidFill>
            <a:latin typeface="+mn-lt"/>
          </a:endParaRPr>
        </a:p>
      </dgm:t>
    </dgm:pt>
    <dgm:pt modelId="{CA59611A-262A-4742-A65D-777EFE2D9AC0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Укладка асфальтового покрытия</a:t>
          </a:r>
        </a:p>
      </dgm:t>
    </dgm:pt>
    <dgm:pt modelId="{8E81DBFA-C429-43AF-AA93-685D7AA9CD07}" type="parTrans" cxnId="{7C4FC5AF-E91A-42F3-9A33-5342B1E25AF4}">
      <dgm:prSet/>
      <dgm:spPr/>
      <dgm:t>
        <a:bodyPr/>
        <a:lstStyle/>
        <a:p>
          <a:endParaRPr lang="ru-RU"/>
        </a:p>
      </dgm:t>
    </dgm:pt>
    <dgm:pt modelId="{8150F564-B622-490A-937A-10FB5BF74E8C}" type="sibTrans" cxnId="{7C4FC5AF-E91A-42F3-9A33-5342B1E25AF4}">
      <dgm:prSet/>
      <dgm:spPr/>
      <dgm:t>
        <a:bodyPr/>
        <a:lstStyle/>
        <a:p>
          <a:endParaRPr lang="ru-RU"/>
        </a:p>
      </dgm:t>
    </dgm:pt>
    <dgm:pt modelId="{7DED743B-E715-4A1A-B9C4-DEE612104DBE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Строительная техника</a:t>
          </a:r>
        </a:p>
      </dgm:t>
    </dgm:pt>
    <dgm:pt modelId="{9EECB7F2-EC22-42F1-A282-DCF4A269BA70}" type="parTrans" cxnId="{F665A57F-CBF1-4C73-8F67-087BE8E40F06}">
      <dgm:prSet/>
      <dgm:spPr/>
      <dgm:t>
        <a:bodyPr/>
        <a:lstStyle/>
        <a:p>
          <a:endParaRPr lang="ru-RU"/>
        </a:p>
      </dgm:t>
    </dgm:pt>
    <dgm:pt modelId="{BD06DA33-6723-4E7C-A1D2-13F5B4D3D2FA}" type="sibTrans" cxnId="{F665A57F-CBF1-4C73-8F67-087BE8E40F06}">
      <dgm:prSet/>
      <dgm:spPr/>
      <dgm:t>
        <a:bodyPr/>
        <a:lstStyle/>
        <a:p>
          <a:endParaRPr lang="ru-RU"/>
        </a:p>
      </dgm:t>
    </dgm:pt>
    <dgm:pt modelId="{5AF579C1-968D-47D3-8548-F67113168AA5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Грузовые автомобили</a:t>
          </a:r>
        </a:p>
      </dgm:t>
    </dgm:pt>
    <dgm:pt modelId="{2EC4E04A-E86E-4FE9-AB71-FA2D145BEAA9}" type="parTrans" cxnId="{24B9E4FF-8631-4E70-87D3-7E2AE98A18F1}">
      <dgm:prSet/>
      <dgm:spPr/>
      <dgm:t>
        <a:bodyPr/>
        <a:lstStyle/>
        <a:p>
          <a:endParaRPr lang="ru-RU"/>
        </a:p>
      </dgm:t>
    </dgm:pt>
    <dgm:pt modelId="{D508E814-C01C-486C-87DD-D1F905D43508}" type="sibTrans" cxnId="{24B9E4FF-8631-4E70-87D3-7E2AE98A18F1}">
      <dgm:prSet/>
      <dgm:spPr/>
      <dgm:t>
        <a:bodyPr/>
        <a:lstStyle/>
        <a:p>
          <a:endParaRPr lang="ru-RU"/>
        </a:p>
      </dgm:t>
    </dgm:pt>
    <dgm:pt modelId="{E57A7495-0F4E-486B-8FCB-A2BBB9860A2A}">
      <dgm:prSet phldrT="[Текст]" custT="1"/>
      <dgm:spPr>
        <a:noFill/>
      </dgm:spPr>
      <dgm:t>
        <a:bodyPr/>
        <a:lstStyle/>
        <a:p>
          <a:pPr algn="l"/>
          <a:r>
            <a:rPr lang="ru-RU" sz="1400" b="1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Гидроизоляционные работы</a:t>
          </a:r>
        </a:p>
      </dgm:t>
    </dgm:pt>
    <dgm:pt modelId="{59FCFC4B-D893-462B-8B08-00B15F396513}" type="parTrans" cxnId="{355836FC-9C29-45B7-B3A1-30E0F3168381}">
      <dgm:prSet/>
      <dgm:spPr/>
      <dgm:t>
        <a:bodyPr/>
        <a:lstStyle/>
        <a:p>
          <a:endParaRPr lang="ru-RU"/>
        </a:p>
      </dgm:t>
    </dgm:pt>
    <dgm:pt modelId="{F3DC1EE6-8BEA-451E-9A8E-42033C891FE0}" type="sibTrans" cxnId="{355836FC-9C29-45B7-B3A1-30E0F3168381}">
      <dgm:prSet/>
      <dgm:spPr/>
      <dgm:t>
        <a:bodyPr/>
        <a:lstStyle/>
        <a:p>
          <a:endParaRPr lang="ru-RU"/>
        </a:p>
      </dgm:t>
    </dgm:pt>
    <dgm:pt modelId="{AF9C03A6-D7E6-4C56-9DA0-CE57AB83C699}" type="pres">
      <dgm:prSet presAssocID="{E730CCAB-5962-4B39-9CAC-A693DC66A1AC}" presName="theList" presStyleCnt="0">
        <dgm:presLayoutVars>
          <dgm:dir/>
          <dgm:animLvl val="lvl"/>
          <dgm:resizeHandles val="exact"/>
        </dgm:presLayoutVars>
      </dgm:prSet>
      <dgm:spPr/>
    </dgm:pt>
    <dgm:pt modelId="{37D6960B-20CE-4AB5-8F5B-A42BBE6806C2}" type="pres">
      <dgm:prSet presAssocID="{FD13EC5A-FEE7-4A91-99C4-86881A8534DD}" presName="compNode" presStyleCnt="0"/>
      <dgm:spPr/>
    </dgm:pt>
    <dgm:pt modelId="{59325CD8-0062-418E-91E7-C9548278B3BE}" type="pres">
      <dgm:prSet presAssocID="{FD13EC5A-FEE7-4A91-99C4-86881A8534DD}" presName="aNode" presStyleLbl="bgShp" presStyleIdx="0" presStyleCnt="1"/>
      <dgm:spPr/>
    </dgm:pt>
    <dgm:pt modelId="{ECC8C904-1F4D-4BF4-9A59-E2D1E563F71C}" type="pres">
      <dgm:prSet presAssocID="{FD13EC5A-FEE7-4A91-99C4-86881A8534DD}" presName="textNode" presStyleLbl="bgShp" presStyleIdx="0" presStyleCnt="1"/>
      <dgm:spPr/>
    </dgm:pt>
    <dgm:pt modelId="{9FA77B00-1DAC-48D0-90CD-3BD2C681B6B9}" type="pres">
      <dgm:prSet presAssocID="{FD13EC5A-FEE7-4A91-99C4-86881A8534DD}" presName="compChildNode" presStyleCnt="0"/>
      <dgm:spPr/>
    </dgm:pt>
    <dgm:pt modelId="{FFCDFE4F-0E8E-4876-97CB-17EE1E3F0A4E}" type="pres">
      <dgm:prSet presAssocID="{FD13EC5A-FEE7-4A91-99C4-86881A8534DD}" presName="theInnerList" presStyleCnt="0"/>
      <dgm:spPr/>
    </dgm:pt>
    <dgm:pt modelId="{F6AAE277-3422-4D1E-A280-5F2DD804F74F}" type="pres">
      <dgm:prSet presAssocID="{F68A5EB6-731B-4AD2-A342-59D3B1E5DEBD}" presName="childNode" presStyleLbl="node1" presStyleIdx="0" presStyleCnt="9">
        <dgm:presLayoutVars>
          <dgm:bulletEnabled val="1"/>
        </dgm:presLayoutVars>
      </dgm:prSet>
      <dgm:spPr/>
    </dgm:pt>
    <dgm:pt modelId="{459CC11D-2AC8-4B2C-81E5-9B23DB7794E1}" type="pres">
      <dgm:prSet presAssocID="{F68A5EB6-731B-4AD2-A342-59D3B1E5DEBD}" presName="aSpace2" presStyleCnt="0"/>
      <dgm:spPr/>
    </dgm:pt>
    <dgm:pt modelId="{745E0F17-5E1C-4627-B43D-42DD2CE371E2}" type="pres">
      <dgm:prSet presAssocID="{D2793D38-5D10-4A2F-8150-FBA97C15B133}" presName="childNode" presStyleLbl="node1" presStyleIdx="1" presStyleCnt="9">
        <dgm:presLayoutVars>
          <dgm:bulletEnabled val="1"/>
        </dgm:presLayoutVars>
      </dgm:prSet>
      <dgm:spPr/>
    </dgm:pt>
    <dgm:pt modelId="{78B73670-D494-4C8E-BABB-9698E39FBC6C}" type="pres">
      <dgm:prSet presAssocID="{D2793D38-5D10-4A2F-8150-FBA97C15B133}" presName="aSpace2" presStyleCnt="0"/>
      <dgm:spPr/>
    </dgm:pt>
    <dgm:pt modelId="{8FB74E86-226F-424F-9CD5-E0F0D9961CBB}" type="pres">
      <dgm:prSet presAssocID="{7DED743B-E715-4A1A-B9C4-DEE612104DBE}" presName="childNode" presStyleLbl="node1" presStyleIdx="2" presStyleCnt="9">
        <dgm:presLayoutVars>
          <dgm:bulletEnabled val="1"/>
        </dgm:presLayoutVars>
      </dgm:prSet>
      <dgm:spPr/>
    </dgm:pt>
    <dgm:pt modelId="{AE7E88F0-9EF0-45B6-9E8C-190795A91928}" type="pres">
      <dgm:prSet presAssocID="{7DED743B-E715-4A1A-B9C4-DEE612104DBE}" presName="aSpace2" presStyleCnt="0"/>
      <dgm:spPr/>
    </dgm:pt>
    <dgm:pt modelId="{1BD6BF1F-3BAF-4C05-8403-AA6128305E36}" type="pres">
      <dgm:prSet presAssocID="{5AF579C1-968D-47D3-8548-F67113168AA5}" presName="childNode" presStyleLbl="node1" presStyleIdx="3" presStyleCnt="9">
        <dgm:presLayoutVars>
          <dgm:bulletEnabled val="1"/>
        </dgm:presLayoutVars>
      </dgm:prSet>
      <dgm:spPr/>
    </dgm:pt>
    <dgm:pt modelId="{57816412-9795-4AFE-AB65-8FF0DC081228}" type="pres">
      <dgm:prSet presAssocID="{5AF579C1-968D-47D3-8548-F67113168AA5}" presName="aSpace2" presStyleCnt="0"/>
      <dgm:spPr/>
    </dgm:pt>
    <dgm:pt modelId="{E80C41D6-C435-4BC2-A631-BF0A9C55DA98}" type="pres">
      <dgm:prSet presAssocID="{E57A7495-0F4E-486B-8FCB-A2BBB9860A2A}" presName="childNode" presStyleLbl="node1" presStyleIdx="4" presStyleCnt="9">
        <dgm:presLayoutVars>
          <dgm:bulletEnabled val="1"/>
        </dgm:presLayoutVars>
      </dgm:prSet>
      <dgm:spPr/>
    </dgm:pt>
    <dgm:pt modelId="{0CF0F3E8-DC67-408A-9EA6-041BC801EA18}" type="pres">
      <dgm:prSet presAssocID="{E57A7495-0F4E-486B-8FCB-A2BBB9860A2A}" presName="aSpace2" presStyleCnt="0"/>
      <dgm:spPr/>
    </dgm:pt>
    <dgm:pt modelId="{AEDFB2CD-3239-44EE-8FF4-47961B0407CA}" type="pres">
      <dgm:prSet presAssocID="{CA59611A-262A-4742-A65D-777EFE2D9AC0}" presName="childNode" presStyleLbl="node1" presStyleIdx="5" presStyleCnt="9">
        <dgm:presLayoutVars>
          <dgm:bulletEnabled val="1"/>
        </dgm:presLayoutVars>
      </dgm:prSet>
      <dgm:spPr/>
    </dgm:pt>
    <dgm:pt modelId="{10AF8CFC-46B2-4E6F-9073-282D7B68C314}" type="pres">
      <dgm:prSet presAssocID="{CA59611A-262A-4742-A65D-777EFE2D9AC0}" presName="aSpace2" presStyleCnt="0"/>
      <dgm:spPr/>
    </dgm:pt>
    <dgm:pt modelId="{6588E9CA-DB49-4E2B-B5FC-D7E8C4F7797C}" type="pres">
      <dgm:prSet presAssocID="{54B9901D-BB4A-4692-97C3-4D5C1FF4BBA1}" presName="childNode" presStyleLbl="node1" presStyleIdx="6" presStyleCnt="9">
        <dgm:presLayoutVars>
          <dgm:bulletEnabled val="1"/>
        </dgm:presLayoutVars>
      </dgm:prSet>
      <dgm:spPr/>
    </dgm:pt>
    <dgm:pt modelId="{FB19B8E2-B3C5-4D83-91A9-ECA98D72E5AB}" type="pres">
      <dgm:prSet presAssocID="{54B9901D-BB4A-4692-97C3-4D5C1FF4BBA1}" presName="aSpace2" presStyleCnt="0"/>
      <dgm:spPr/>
    </dgm:pt>
    <dgm:pt modelId="{82B2AB12-F232-4109-98DE-143006D2D64F}" type="pres">
      <dgm:prSet presAssocID="{9234BFBE-066C-4158-90E9-D6DEECDA5241}" presName="childNode" presStyleLbl="node1" presStyleIdx="7" presStyleCnt="9">
        <dgm:presLayoutVars>
          <dgm:bulletEnabled val="1"/>
        </dgm:presLayoutVars>
      </dgm:prSet>
      <dgm:spPr/>
    </dgm:pt>
    <dgm:pt modelId="{FF70D58D-F90E-45A7-9355-163DAD188579}" type="pres">
      <dgm:prSet presAssocID="{9234BFBE-066C-4158-90E9-D6DEECDA5241}" presName="aSpace2" presStyleCnt="0"/>
      <dgm:spPr/>
    </dgm:pt>
    <dgm:pt modelId="{D002FA6D-5C61-443D-BF4E-8D4FB6DA380A}" type="pres">
      <dgm:prSet presAssocID="{BB3029E7-0AD0-48B4-8469-E91DB3217008}" presName="childNode" presStyleLbl="node1" presStyleIdx="8" presStyleCnt="9">
        <dgm:presLayoutVars>
          <dgm:bulletEnabled val="1"/>
        </dgm:presLayoutVars>
      </dgm:prSet>
      <dgm:spPr/>
    </dgm:pt>
  </dgm:ptLst>
  <dgm:cxnLst>
    <dgm:cxn modelId="{41A32508-65EF-4B5C-A279-049B34B80FA2}" type="presOf" srcId="{9234BFBE-066C-4158-90E9-D6DEECDA5241}" destId="{82B2AB12-F232-4109-98DE-143006D2D64F}" srcOrd="0" destOrd="0" presId="urn:microsoft.com/office/officeart/2005/8/layout/lProcess2"/>
    <dgm:cxn modelId="{AD4E5112-307E-4B10-9D6D-F362527F1393}" type="presOf" srcId="{F68A5EB6-731B-4AD2-A342-59D3B1E5DEBD}" destId="{F6AAE277-3422-4D1E-A280-5F2DD804F74F}" srcOrd="0" destOrd="0" presId="urn:microsoft.com/office/officeart/2005/8/layout/lProcess2"/>
    <dgm:cxn modelId="{1677AD25-51F3-4BF2-AFFC-0E08A9D963F8}" type="presOf" srcId="{FD13EC5A-FEE7-4A91-99C4-86881A8534DD}" destId="{59325CD8-0062-418E-91E7-C9548278B3BE}" srcOrd="0" destOrd="0" presId="urn:microsoft.com/office/officeart/2005/8/layout/lProcess2"/>
    <dgm:cxn modelId="{C1F15B3F-E5C1-455C-B4D5-CC4FB2488CA3}" type="presOf" srcId="{D2793D38-5D10-4A2F-8150-FBA97C15B133}" destId="{745E0F17-5E1C-4627-B43D-42DD2CE371E2}" srcOrd="0" destOrd="0" presId="urn:microsoft.com/office/officeart/2005/8/layout/lProcess2"/>
    <dgm:cxn modelId="{B88AB043-6D85-4BF6-8259-30C9D7524271}" type="presOf" srcId="{5AF579C1-968D-47D3-8548-F67113168AA5}" destId="{1BD6BF1F-3BAF-4C05-8403-AA6128305E36}" srcOrd="0" destOrd="0" presId="urn:microsoft.com/office/officeart/2005/8/layout/lProcess2"/>
    <dgm:cxn modelId="{0725A27A-891B-4BA7-AC27-4672CEDE1ED8}" srcId="{FD13EC5A-FEE7-4A91-99C4-86881A8534DD}" destId="{F68A5EB6-731B-4AD2-A342-59D3B1E5DEBD}" srcOrd="0" destOrd="0" parTransId="{8C67B5CE-786E-40D3-B584-08361C2A65CB}" sibTransId="{44C61830-7785-4F9A-A24A-146252E35BA0}"/>
    <dgm:cxn modelId="{F665A57F-CBF1-4C73-8F67-087BE8E40F06}" srcId="{FD13EC5A-FEE7-4A91-99C4-86881A8534DD}" destId="{7DED743B-E715-4A1A-B9C4-DEE612104DBE}" srcOrd="2" destOrd="0" parTransId="{9EECB7F2-EC22-42F1-A282-DCF4A269BA70}" sibTransId="{BD06DA33-6723-4E7C-A1D2-13F5B4D3D2FA}"/>
    <dgm:cxn modelId="{D7783481-BE96-496E-856D-CB5D89EF5D44}" type="presOf" srcId="{E57A7495-0F4E-486B-8FCB-A2BBB9860A2A}" destId="{E80C41D6-C435-4BC2-A631-BF0A9C55DA98}" srcOrd="0" destOrd="0" presId="urn:microsoft.com/office/officeart/2005/8/layout/lProcess2"/>
    <dgm:cxn modelId="{3DFA998E-27B6-4F9A-84DF-ADF7CA23813C}" srcId="{FD13EC5A-FEE7-4A91-99C4-86881A8534DD}" destId="{54B9901D-BB4A-4692-97C3-4D5C1FF4BBA1}" srcOrd="6" destOrd="0" parTransId="{9488F867-6E66-4255-9391-EE92FCA9E008}" sibTransId="{561FCAF5-2B84-430B-A393-F66A47E058A1}"/>
    <dgm:cxn modelId="{AFCF1494-9BC0-42C8-BDDA-011E85D89C17}" srcId="{FD13EC5A-FEE7-4A91-99C4-86881A8534DD}" destId="{BB3029E7-0AD0-48B4-8469-E91DB3217008}" srcOrd="8" destOrd="0" parTransId="{2EA5AED0-90AA-4B7E-A3E3-57B4537C21CB}" sibTransId="{B75F795C-1DC7-4F72-991F-BA930AFC5AFA}"/>
    <dgm:cxn modelId="{A632EB96-B2DC-49E4-B655-319807D7D994}" type="presOf" srcId="{FD13EC5A-FEE7-4A91-99C4-86881A8534DD}" destId="{ECC8C904-1F4D-4BF4-9A59-E2D1E563F71C}" srcOrd="1" destOrd="0" presId="urn:microsoft.com/office/officeart/2005/8/layout/lProcess2"/>
    <dgm:cxn modelId="{E7FB07A3-5F69-48CD-BDE3-2277D771A571}" type="presOf" srcId="{CA59611A-262A-4742-A65D-777EFE2D9AC0}" destId="{AEDFB2CD-3239-44EE-8FF4-47961B0407CA}" srcOrd="0" destOrd="0" presId="urn:microsoft.com/office/officeart/2005/8/layout/lProcess2"/>
    <dgm:cxn modelId="{948263A3-AE60-478C-8F29-BCC61CA750D5}" type="presOf" srcId="{54B9901D-BB4A-4692-97C3-4D5C1FF4BBA1}" destId="{6588E9CA-DB49-4E2B-B5FC-D7E8C4F7797C}" srcOrd="0" destOrd="0" presId="urn:microsoft.com/office/officeart/2005/8/layout/lProcess2"/>
    <dgm:cxn modelId="{7C4FC5AF-E91A-42F3-9A33-5342B1E25AF4}" srcId="{FD13EC5A-FEE7-4A91-99C4-86881A8534DD}" destId="{CA59611A-262A-4742-A65D-777EFE2D9AC0}" srcOrd="5" destOrd="0" parTransId="{8E81DBFA-C429-43AF-AA93-685D7AA9CD07}" sibTransId="{8150F564-B622-490A-937A-10FB5BF74E8C}"/>
    <dgm:cxn modelId="{BC28CDB2-2922-4E1E-937C-168AEAA78911}" type="presOf" srcId="{7DED743B-E715-4A1A-B9C4-DEE612104DBE}" destId="{8FB74E86-226F-424F-9CD5-E0F0D9961CBB}" srcOrd="0" destOrd="0" presId="urn:microsoft.com/office/officeart/2005/8/layout/lProcess2"/>
    <dgm:cxn modelId="{6E31DBBE-1668-4157-AEC2-B005332B219D}" type="presOf" srcId="{BB3029E7-0AD0-48B4-8469-E91DB3217008}" destId="{D002FA6D-5C61-443D-BF4E-8D4FB6DA380A}" srcOrd="0" destOrd="0" presId="urn:microsoft.com/office/officeart/2005/8/layout/lProcess2"/>
    <dgm:cxn modelId="{F606A7C3-972B-4DF4-90DD-AA8FE811C5D9}" type="presOf" srcId="{E730CCAB-5962-4B39-9CAC-A693DC66A1AC}" destId="{AF9C03A6-D7E6-4C56-9DA0-CE57AB83C699}" srcOrd="0" destOrd="0" presId="urn:microsoft.com/office/officeart/2005/8/layout/lProcess2"/>
    <dgm:cxn modelId="{D84265E7-EFE0-4B89-8D83-4EABF034CE5E}" srcId="{FD13EC5A-FEE7-4A91-99C4-86881A8534DD}" destId="{D2793D38-5D10-4A2F-8150-FBA97C15B133}" srcOrd="1" destOrd="0" parTransId="{274E10D9-E182-43AF-B97C-33F285D0A02E}" sibTransId="{8BF76BFA-F011-4765-8EE3-2CFEA0649704}"/>
    <dgm:cxn modelId="{A42E28EB-DE3E-4C48-86E0-D85DF1037DA2}" srcId="{FD13EC5A-FEE7-4A91-99C4-86881A8534DD}" destId="{9234BFBE-066C-4158-90E9-D6DEECDA5241}" srcOrd="7" destOrd="0" parTransId="{1F33ECF5-28E5-4108-AE44-92E759F32D68}" sibTransId="{7AD42D94-15CC-4468-A2BC-9A9B8DD68BA3}"/>
    <dgm:cxn modelId="{DC8F9AF0-2C2C-47AA-A8C0-C3B5368A68EF}" srcId="{E730CCAB-5962-4B39-9CAC-A693DC66A1AC}" destId="{FD13EC5A-FEE7-4A91-99C4-86881A8534DD}" srcOrd="0" destOrd="0" parTransId="{4209E586-D620-4BD9-9C5B-B079849CA10A}" sibTransId="{EE21948E-E9E1-440A-9748-2F099660FECE}"/>
    <dgm:cxn modelId="{355836FC-9C29-45B7-B3A1-30E0F3168381}" srcId="{FD13EC5A-FEE7-4A91-99C4-86881A8534DD}" destId="{E57A7495-0F4E-486B-8FCB-A2BBB9860A2A}" srcOrd="4" destOrd="0" parTransId="{59FCFC4B-D893-462B-8B08-00B15F396513}" sibTransId="{F3DC1EE6-8BEA-451E-9A8E-42033C891FE0}"/>
    <dgm:cxn modelId="{24B9E4FF-8631-4E70-87D3-7E2AE98A18F1}" srcId="{FD13EC5A-FEE7-4A91-99C4-86881A8534DD}" destId="{5AF579C1-968D-47D3-8548-F67113168AA5}" srcOrd="3" destOrd="0" parTransId="{2EC4E04A-E86E-4FE9-AB71-FA2D145BEAA9}" sibTransId="{D508E814-C01C-486C-87DD-D1F905D43508}"/>
    <dgm:cxn modelId="{4D59A311-B848-4643-8B04-5C3B111CAF79}" type="presParOf" srcId="{AF9C03A6-D7E6-4C56-9DA0-CE57AB83C699}" destId="{37D6960B-20CE-4AB5-8F5B-A42BBE6806C2}" srcOrd="0" destOrd="0" presId="urn:microsoft.com/office/officeart/2005/8/layout/lProcess2"/>
    <dgm:cxn modelId="{2931D1A7-3724-4079-8FC3-6EE3A7BAA2B8}" type="presParOf" srcId="{37D6960B-20CE-4AB5-8F5B-A42BBE6806C2}" destId="{59325CD8-0062-418E-91E7-C9548278B3BE}" srcOrd="0" destOrd="0" presId="urn:microsoft.com/office/officeart/2005/8/layout/lProcess2"/>
    <dgm:cxn modelId="{29A73792-C1F4-474F-B48E-7F6C48C53B27}" type="presParOf" srcId="{37D6960B-20CE-4AB5-8F5B-A42BBE6806C2}" destId="{ECC8C904-1F4D-4BF4-9A59-E2D1E563F71C}" srcOrd="1" destOrd="0" presId="urn:microsoft.com/office/officeart/2005/8/layout/lProcess2"/>
    <dgm:cxn modelId="{00253389-BCED-459B-B7AC-B25F0BD4C44C}" type="presParOf" srcId="{37D6960B-20CE-4AB5-8F5B-A42BBE6806C2}" destId="{9FA77B00-1DAC-48D0-90CD-3BD2C681B6B9}" srcOrd="2" destOrd="0" presId="urn:microsoft.com/office/officeart/2005/8/layout/lProcess2"/>
    <dgm:cxn modelId="{E6829CDA-99D4-4280-AFA8-814544ADF363}" type="presParOf" srcId="{9FA77B00-1DAC-48D0-90CD-3BD2C681B6B9}" destId="{FFCDFE4F-0E8E-4876-97CB-17EE1E3F0A4E}" srcOrd="0" destOrd="0" presId="urn:microsoft.com/office/officeart/2005/8/layout/lProcess2"/>
    <dgm:cxn modelId="{CD54A421-AB28-47E5-8D45-B07EB8BBA9F4}" type="presParOf" srcId="{FFCDFE4F-0E8E-4876-97CB-17EE1E3F0A4E}" destId="{F6AAE277-3422-4D1E-A280-5F2DD804F74F}" srcOrd="0" destOrd="0" presId="urn:microsoft.com/office/officeart/2005/8/layout/lProcess2"/>
    <dgm:cxn modelId="{1402D4D5-496C-45A2-8805-DDD73A175C29}" type="presParOf" srcId="{FFCDFE4F-0E8E-4876-97CB-17EE1E3F0A4E}" destId="{459CC11D-2AC8-4B2C-81E5-9B23DB7794E1}" srcOrd="1" destOrd="0" presId="urn:microsoft.com/office/officeart/2005/8/layout/lProcess2"/>
    <dgm:cxn modelId="{0EAB578A-0E49-4592-9E39-6DC3EA021DEA}" type="presParOf" srcId="{FFCDFE4F-0E8E-4876-97CB-17EE1E3F0A4E}" destId="{745E0F17-5E1C-4627-B43D-42DD2CE371E2}" srcOrd="2" destOrd="0" presId="urn:microsoft.com/office/officeart/2005/8/layout/lProcess2"/>
    <dgm:cxn modelId="{1D3949C2-5AC4-4158-BFB8-D46F4F407F87}" type="presParOf" srcId="{FFCDFE4F-0E8E-4876-97CB-17EE1E3F0A4E}" destId="{78B73670-D494-4C8E-BABB-9698E39FBC6C}" srcOrd="3" destOrd="0" presId="urn:microsoft.com/office/officeart/2005/8/layout/lProcess2"/>
    <dgm:cxn modelId="{232FDD5A-3852-4511-A3B8-55EC3E6D0906}" type="presParOf" srcId="{FFCDFE4F-0E8E-4876-97CB-17EE1E3F0A4E}" destId="{8FB74E86-226F-424F-9CD5-E0F0D9961CBB}" srcOrd="4" destOrd="0" presId="urn:microsoft.com/office/officeart/2005/8/layout/lProcess2"/>
    <dgm:cxn modelId="{B3A45411-E836-4218-80E0-B05FA6E54968}" type="presParOf" srcId="{FFCDFE4F-0E8E-4876-97CB-17EE1E3F0A4E}" destId="{AE7E88F0-9EF0-45B6-9E8C-190795A91928}" srcOrd="5" destOrd="0" presId="urn:microsoft.com/office/officeart/2005/8/layout/lProcess2"/>
    <dgm:cxn modelId="{F4ACED5A-9855-472A-BC72-F2958FD52214}" type="presParOf" srcId="{FFCDFE4F-0E8E-4876-97CB-17EE1E3F0A4E}" destId="{1BD6BF1F-3BAF-4C05-8403-AA6128305E36}" srcOrd="6" destOrd="0" presId="urn:microsoft.com/office/officeart/2005/8/layout/lProcess2"/>
    <dgm:cxn modelId="{5D576D34-1747-4FFC-B6ED-DF1957C25322}" type="presParOf" srcId="{FFCDFE4F-0E8E-4876-97CB-17EE1E3F0A4E}" destId="{57816412-9795-4AFE-AB65-8FF0DC081228}" srcOrd="7" destOrd="0" presId="urn:microsoft.com/office/officeart/2005/8/layout/lProcess2"/>
    <dgm:cxn modelId="{DD885BA4-134A-43C2-B9F6-EC229919FDC7}" type="presParOf" srcId="{FFCDFE4F-0E8E-4876-97CB-17EE1E3F0A4E}" destId="{E80C41D6-C435-4BC2-A631-BF0A9C55DA98}" srcOrd="8" destOrd="0" presId="urn:microsoft.com/office/officeart/2005/8/layout/lProcess2"/>
    <dgm:cxn modelId="{C93B0BAF-DC01-4BE9-94FD-D2E2A69D72F0}" type="presParOf" srcId="{FFCDFE4F-0E8E-4876-97CB-17EE1E3F0A4E}" destId="{0CF0F3E8-DC67-408A-9EA6-041BC801EA18}" srcOrd="9" destOrd="0" presId="urn:microsoft.com/office/officeart/2005/8/layout/lProcess2"/>
    <dgm:cxn modelId="{B2B35E93-6FC1-4B70-B6B1-ABC9509A8501}" type="presParOf" srcId="{FFCDFE4F-0E8E-4876-97CB-17EE1E3F0A4E}" destId="{AEDFB2CD-3239-44EE-8FF4-47961B0407CA}" srcOrd="10" destOrd="0" presId="urn:microsoft.com/office/officeart/2005/8/layout/lProcess2"/>
    <dgm:cxn modelId="{0BAA0D8B-7DAA-488F-9FAF-10B497A60C30}" type="presParOf" srcId="{FFCDFE4F-0E8E-4876-97CB-17EE1E3F0A4E}" destId="{10AF8CFC-46B2-4E6F-9073-282D7B68C314}" srcOrd="11" destOrd="0" presId="urn:microsoft.com/office/officeart/2005/8/layout/lProcess2"/>
    <dgm:cxn modelId="{11DCA32C-F567-4839-9BEF-ADA9A857AC9A}" type="presParOf" srcId="{FFCDFE4F-0E8E-4876-97CB-17EE1E3F0A4E}" destId="{6588E9CA-DB49-4E2B-B5FC-D7E8C4F7797C}" srcOrd="12" destOrd="0" presId="urn:microsoft.com/office/officeart/2005/8/layout/lProcess2"/>
    <dgm:cxn modelId="{7902C54A-CBDD-4CB5-8219-858720F32EE2}" type="presParOf" srcId="{FFCDFE4F-0E8E-4876-97CB-17EE1E3F0A4E}" destId="{FB19B8E2-B3C5-4D83-91A9-ECA98D72E5AB}" srcOrd="13" destOrd="0" presId="urn:microsoft.com/office/officeart/2005/8/layout/lProcess2"/>
    <dgm:cxn modelId="{98FE2B31-FB1C-4EE2-AAEF-9E2C6A1A4A51}" type="presParOf" srcId="{FFCDFE4F-0E8E-4876-97CB-17EE1E3F0A4E}" destId="{82B2AB12-F232-4109-98DE-143006D2D64F}" srcOrd="14" destOrd="0" presId="urn:microsoft.com/office/officeart/2005/8/layout/lProcess2"/>
    <dgm:cxn modelId="{AE73D4BE-541A-4CED-8A8E-C3F91821C864}" type="presParOf" srcId="{FFCDFE4F-0E8E-4876-97CB-17EE1E3F0A4E}" destId="{FF70D58D-F90E-45A7-9355-163DAD188579}" srcOrd="15" destOrd="0" presId="urn:microsoft.com/office/officeart/2005/8/layout/lProcess2"/>
    <dgm:cxn modelId="{3E7C25FA-4F5A-4D31-82E8-78F498DDCFC0}" type="presParOf" srcId="{FFCDFE4F-0E8E-4876-97CB-17EE1E3F0A4E}" destId="{D002FA6D-5C61-443D-BF4E-8D4FB6DA380A}" srcOrd="1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1B2C176-9B9A-4825-A4FD-96B359D76F2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BAA6A31-C748-41BC-8E68-FCBFD28FCB55}">
      <dgm:prSet phldrT="[Текст]" custT="1"/>
      <dgm:spPr>
        <a:noFill/>
      </dgm:spPr>
      <dgm:t>
        <a:bodyPr/>
        <a:lstStyle/>
        <a:p>
          <a:endParaRPr lang="ru-RU" sz="1200" dirty="0">
            <a:solidFill>
              <a:schemeClr val="tx1"/>
            </a:solidFill>
          </a:endParaRPr>
        </a:p>
      </dgm:t>
    </dgm:pt>
    <dgm:pt modelId="{55238AB9-93DC-4214-B341-87BEAE4157C4}" type="parTrans" cxnId="{C8A6582C-4E0B-492F-B5AF-575768CD9092}">
      <dgm:prSet/>
      <dgm:spPr/>
      <dgm:t>
        <a:bodyPr/>
        <a:lstStyle/>
        <a:p>
          <a:endParaRPr lang="ru-RU"/>
        </a:p>
      </dgm:t>
    </dgm:pt>
    <dgm:pt modelId="{B3077955-9FEA-4F47-861E-9731987D39AC}" type="sibTrans" cxnId="{C8A6582C-4E0B-492F-B5AF-575768CD9092}">
      <dgm:prSet/>
      <dgm:spPr/>
      <dgm:t>
        <a:bodyPr/>
        <a:lstStyle/>
        <a:p>
          <a:endParaRPr lang="ru-RU"/>
        </a:p>
      </dgm:t>
    </dgm:pt>
    <dgm:pt modelId="{E5BCE424-7384-4723-84E1-45942313974D}" type="pres">
      <dgm:prSet presAssocID="{71B2C176-9B9A-4825-A4FD-96B359D76F21}" presName="linear" presStyleCnt="0">
        <dgm:presLayoutVars>
          <dgm:animLvl val="lvl"/>
          <dgm:resizeHandles val="exact"/>
        </dgm:presLayoutVars>
      </dgm:prSet>
      <dgm:spPr/>
    </dgm:pt>
    <dgm:pt modelId="{EDB6A310-47FE-4EAA-AEEA-C5544994941C}" type="pres">
      <dgm:prSet presAssocID="{9BAA6A31-C748-41BC-8E68-FCBFD28FCB55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C8A6582C-4E0B-492F-B5AF-575768CD9092}" srcId="{71B2C176-9B9A-4825-A4FD-96B359D76F21}" destId="{9BAA6A31-C748-41BC-8E68-FCBFD28FCB55}" srcOrd="0" destOrd="0" parTransId="{55238AB9-93DC-4214-B341-87BEAE4157C4}" sibTransId="{B3077955-9FEA-4F47-861E-9731987D39AC}"/>
    <dgm:cxn modelId="{B34B5A98-4E73-4D0F-B6FF-D66D9BC9EE27}" type="presOf" srcId="{9BAA6A31-C748-41BC-8E68-FCBFD28FCB55}" destId="{EDB6A310-47FE-4EAA-AEEA-C5544994941C}" srcOrd="0" destOrd="0" presId="urn:microsoft.com/office/officeart/2005/8/layout/vList2"/>
    <dgm:cxn modelId="{93C146C2-47D8-4C44-9104-9E19BAAE3F0F}" type="presOf" srcId="{71B2C176-9B9A-4825-A4FD-96B359D76F21}" destId="{E5BCE424-7384-4723-84E1-45942313974D}" srcOrd="0" destOrd="0" presId="urn:microsoft.com/office/officeart/2005/8/layout/vList2"/>
    <dgm:cxn modelId="{1317551F-DC6D-44B5-8B2A-6DAA30915761}" type="presParOf" srcId="{E5BCE424-7384-4723-84E1-45942313974D}" destId="{EDB6A310-47FE-4EAA-AEEA-C5544994941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F0FB73D-7861-4929-8625-C85ABE773AAB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3A0F96A-6A94-466E-A0FF-4C2B00840B6F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600" b="1" dirty="0">
              <a:solidFill>
                <a:srgbClr val="D60500"/>
              </a:solidFill>
              <a:latin typeface="+mn-lt"/>
            </a:rPr>
            <a:t>Источники шума</a:t>
          </a:r>
        </a:p>
      </dgm:t>
    </dgm:pt>
    <dgm:pt modelId="{E46BBDAA-4FAB-4973-8BC0-F38006CFC057}" type="parTrans" cxnId="{0399C230-256C-4DF0-A98B-370E771D52F4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3BFDC768-1B32-47EA-A58B-7E2DD033A610}" type="sibTrans" cxnId="{0399C230-256C-4DF0-A98B-370E771D52F4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4EB40BEF-3DDC-4355-A4B3-90B47FFF6B00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b="1" dirty="0">
              <a:solidFill>
                <a:srgbClr val="F09230"/>
              </a:solidFill>
              <a:latin typeface="+mn-lt"/>
            </a:rPr>
            <a:t>Период строительства</a:t>
          </a:r>
        </a:p>
      </dgm:t>
    </dgm:pt>
    <dgm:pt modelId="{04F1FBDF-05AD-4F75-BB95-A010503DABC5}" type="parTrans" cxnId="{18615AAA-DC9F-4288-B6E5-24814F23A79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2DBE3CE4-17C7-416F-BE76-4804B8053708}" type="sibTrans" cxnId="{18615AAA-DC9F-4288-B6E5-24814F23A79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50B490FF-1B9A-4F17-8CD7-4788FBE153FA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dirty="0">
              <a:solidFill>
                <a:schemeClr val="tx1"/>
              </a:solidFill>
              <a:latin typeface="+mn-lt"/>
            </a:rPr>
            <a:t>дорожная и строительная техника</a:t>
          </a:r>
        </a:p>
      </dgm:t>
    </dgm:pt>
    <dgm:pt modelId="{BE9577B2-3719-4CAC-8080-3E5E302EA43A}" type="parTrans" cxnId="{3793703B-17DE-4E50-A507-1677F8BFAE25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E7308753-384A-4BA7-BCE8-81C3CF344822}" type="sibTrans" cxnId="{3793703B-17DE-4E50-A507-1677F8BFAE25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30CACAA6-BA75-412A-A8F9-707A926D5BAE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600" b="1" dirty="0">
              <a:solidFill>
                <a:srgbClr val="D60500"/>
              </a:solidFill>
              <a:latin typeface="+mn-lt"/>
            </a:rPr>
            <a:t>Результат акустического расчета</a:t>
          </a:r>
        </a:p>
      </dgm:t>
    </dgm:pt>
    <dgm:pt modelId="{1E0FC810-B9D7-4119-858D-090ACDEBB49A}" type="parTrans" cxnId="{4EA0948C-6080-4631-AD94-2104D35DBD02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83FC0095-0C11-447B-A6CD-4198E7508A0F}" type="sibTrans" cxnId="{4EA0948C-6080-4631-AD94-2104D35DBD02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FDE6135C-EA5A-40D1-B1C5-530E6D26A3C1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b="1" dirty="0">
              <a:solidFill>
                <a:srgbClr val="F09230"/>
              </a:solidFill>
              <a:latin typeface="+mn-lt"/>
            </a:rPr>
            <a:t>Период строительства</a:t>
          </a:r>
        </a:p>
      </dgm:t>
    </dgm:pt>
    <dgm:pt modelId="{5FEAA43C-763A-4297-8CFD-EDDB9DF44A6E}" type="parTrans" cxnId="{73E5B8BD-F231-449C-B5B9-AFE3558EEFA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CF7B35DA-3CD4-4195-9285-12CC577FA817}" type="sibTrans" cxnId="{73E5B8BD-F231-449C-B5B9-AFE3558EEFA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298EA5FB-4517-46AB-B4C3-AC9854219624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600" b="1" dirty="0">
              <a:solidFill>
                <a:srgbClr val="D60500"/>
              </a:solidFill>
              <a:latin typeface="+mn-lt"/>
            </a:rPr>
            <a:t>Мероприятия по защите от шума</a:t>
          </a:r>
        </a:p>
      </dgm:t>
    </dgm:pt>
    <dgm:pt modelId="{D3AE2C2A-A50A-48EB-BDF0-E5344761DDBB}" type="parTrans" cxnId="{E919B0AE-3676-4167-AA66-D5832939B3CE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2A3A5811-9B14-4050-BD34-99495AB48DAE}" type="sibTrans" cxnId="{E919B0AE-3676-4167-AA66-D5832939B3CE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E794C0F2-942E-44E1-9035-85CDCE3A2607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b="1" dirty="0">
              <a:solidFill>
                <a:srgbClr val="F09230"/>
              </a:solidFill>
              <a:latin typeface="+mn-lt"/>
            </a:rPr>
            <a:t>Период строительства</a:t>
          </a:r>
        </a:p>
      </dgm:t>
    </dgm:pt>
    <dgm:pt modelId="{2C71A8B0-2E7E-4B5F-B56A-F246948C0503}" type="parTrans" cxnId="{5C0016A2-F237-4F2F-81D8-7F22087D3627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4832E2E8-D696-452F-B75B-213821517AAE}" type="sibTrans" cxnId="{5C0016A2-F237-4F2F-81D8-7F22087D3627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F42EE323-CC4E-4838-A639-2F15514A7C43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b="1" dirty="0">
              <a:solidFill>
                <a:srgbClr val="236CB0"/>
              </a:solidFill>
              <a:latin typeface="+mn-lt"/>
            </a:rPr>
            <a:t>Период эксплуатации</a:t>
          </a:r>
        </a:p>
      </dgm:t>
    </dgm:pt>
    <dgm:pt modelId="{5F703373-4CAC-481F-8A8A-A504540B52C0}" type="parTrans" cxnId="{027546D9-2C35-4385-B043-E7BB23ADD9F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CCB03F48-EBDC-4FFC-9408-BC87A43F0769}" type="sibTrans" cxnId="{027546D9-2C35-4385-B043-E7BB23ADD9F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1E16F79B-E6DE-4B66-B99C-428CD4B6EEB2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>
              <a:solidFill>
                <a:schemeClr val="tx1"/>
              </a:solidFill>
              <a:latin typeface="+mn-lt"/>
            </a:rPr>
            <a:t>автотранспорт</a:t>
          </a:r>
          <a:endParaRPr lang="ru-RU" sz="1200" dirty="0">
            <a:solidFill>
              <a:schemeClr val="tx1"/>
            </a:solidFill>
            <a:latin typeface="+mn-lt"/>
          </a:endParaRPr>
        </a:p>
      </dgm:t>
    </dgm:pt>
    <dgm:pt modelId="{3CCBF0A5-C390-44D8-B8B2-2AE966424D63}" type="parTrans" cxnId="{A36F0296-A614-491B-AFD6-6F1F397FA521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213CEEE0-FF84-448D-BF04-47F7F706CD77}" type="sibTrans" cxnId="{A36F0296-A614-491B-AFD6-6F1F397FA521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5337BFF4-0522-4682-8EAF-5D3A515285A3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b="1" dirty="0">
              <a:solidFill>
                <a:srgbClr val="236CB0"/>
              </a:solidFill>
              <a:latin typeface="+mn-lt"/>
            </a:rPr>
            <a:t>Период эксплуатации</a:t>
          </a:r>
        </a:p>
      </dgm:t>
    </dgm:pt>
    <dgm:pt modelId="{B555348F-B9F2-43F0-AAC6-74B34C48AD9C}" type="parTrans" cxnId="{9D731983-6B3B-49AF-AD37-E2DE8606FEF8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BFB67314-B082-4D35-BA0A-D3CF3E033688}" type="sibTrans" cxnId="{9D731983-6B3B-49AF-AD37-E2DE8606FEF8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DBFD1E5C-4B7C-413B-9D37-F1D20AA1DC65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dirty="0">
              <a:solidFill>
                <a:schemeClr val="tx1"/>
              </a:solidFill>
              <a:latin typeface="+mn-lt"/>
            </a:rPr>
            <a:t>насосное оборудование</a:t>
          </a:r>
        </a:p>
      </dgm:t>
    </dgm:pt>
    <dgm:pt modelId="{43D4602C-4D11-4556-ACAF-3441574D7126}" type="parTrans" cxnId="{F5D40085-A047-4DC8-B484-06611FD4F710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E0F94D1A-DADB-4382-B5E4-91A0C67BEED0}" type="sibTrans" cxnId="{F5D40085-A047-4DC8-B484-06611FD4F710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26C63411-6125-4603-9324-8257D7F669EF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dirty="0">
              <a:solidFill>
                <a:schemeClr val="tx1"/>
              </a:solidFill>
              <a:latin typeface="+mn-lt"/>
            </a:rPr>
            <a:t>системы приточно-вытяжной вентиляции</a:t>
          </a:r>
        </a:p>
      </dgm:t>
    </dgm:pt>
    <dgm:pt modelId="{DBD8AEC4-61E3-4F04-91D9-A2B77FD0E6C9}" type="parTrans" cxnId="{7E22885B-1D58-46C4-9F90-F3DE5F1A2BB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9105FAA7-D4E4-4F8C-96B7-D6D1EA599118}" type="sibTrans" cxnId="{7E22885B-1D58-46C4-9F90-F3DE5F1A2BB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DBED5CB8-2847-4F06-A950-98F4B106791B}">
      <dgm:prSet phldrT="[Текст]" custT="1"/>
      <dgm:spPr>
        <a:noFill/>
        <a:ln>
          <a:noFill/>
        </a:ln>
      </dgm:spPr>
      <dgm:t>
        <a:bodyPr/>
        <a:lstStyle/>
        <a:p>
          <a:pPr>
            <a:buChar char="•"/>
          </a:pPr>
          <a:r>
            <a:rPr lang="ru-RU" sz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эквивалентный уровень звука 36,9 </a:t>
          </a:r>
          <a:r>
            <a:rPr lang="ru-RU" sz="1200" dirty="0" err="1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дБА</a:t>
          </a:r>
          <a:endParaRPr lang="ru-RU" sz="1200" dirty="0">
            <a:solidFill>
              <a:schemeClr val="tx1"/>
            </a:solidFill>
            <a:latin typeface="+mn-lt"/>
          </a:endParaRPr>
        </a:p>
      </dgm:t>
    </dgm:pt>
    <dgm:pt modelId="{3FCD302B-5F84-437A-853C-0AD5E0B7898A}" type="parTrans" cxnId="{A964ADB6-D0AB-4520-B2AF-F9DB344EB30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BFEBCC24-1E82-43A3-83E6-2DFDFF4402C0}" type="sibTrans" cxnId="{A964ADB6-D0AB-4520-B2AF-F9DB344EB30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0B966657-687A-4718-BD17-F59728782ABF}">
      <dgm:prSet custT="1"/>
      <dgm:spPr>
        <a:noFill/>
        <a:ln>
          <a:noFill/>
        </a:ln>
      </dgm:spPr>
      <dgm:t>
        <a:bodyPr/>
        <a:lstStyle/>
        <a:p>
          <a:r>
            <a:rPr lang="ru-RU" sz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максимальный уровень звука  39,8 </a:t>
          </a:r>
          <a:r>
            <a:rPr lang="ru-RU" sz="1200" dirty="0" err="1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дБА</a:t>
          </a:r>
          <a:endParaRPr lang="ru-RU" sz="1200" dirty="0">
            <a:solidFill>
              <a:schemeClr val="tx1"/>
            </a:solidFill>
            <a:latin typeface="+mn-lt"/>
          </a:endParaRPr>
        </a:p>
      </dgm:t>
    </dgm:pt>
    <dgm:pt modelId="{F89CAB36-1DF7-4E42-8BFB-29F6B559DC45}" type="parTrans" cxnId="{76F5367D-2D64-4740-98C6-625FA8F41898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EBFC1D84-0404-4D5B-A451-76E82E4FA254}" type="sibTrans" cxnId="{76F5367D-2D64-4740-98C6-625FA8F41898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DD48FA59-A58F-435D-9264-3DD7DCC78722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dirty="0">
              <a:solidFill>
                <a:schemeClr val="tx1"/>
              </a:solidFill>
              <a:latin typeface="+mn-lt"/>
            </a:rPr>
            <a:t>эквивалентный уровень звука 30,1 </a:t>
          </a:r>
          <a:r>
            <a:rPr lang="ru-RU" sz="1200" dirty="0" err="1">
              <a:solidFill>
                <a:schemeClr val="tx1"/>
              </a:solidFill>
              <a:latin typeface="+mn-lt"/>
            </a:rPr>
            <a:t>дБА</a:t>
          </a:r>
          <a:r>
            <a:rPr lang="ru-RU" sz="1200" dirty="0">
              <a:solidFill>
                <a:schemeClr val="tx1"/>
              </a:solidFill>
              <a:latin typeface="+mn-lt"/>
            </a:rPr>
            <a:t> </a:t>
          </a:r>
        </a:p>
      </dgm:t>
    </dgm:pt>
    <dgm:pt modelId="{5C2BCAAF-905F-41FA-B591-828E1DD98364}" type="parTrans" cxnId="{EE80A879-244F-4314-8E1F-D7AA019D0FF3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D1C3BA2C-446D-4453-9A9D-EED216D508F3}" type="sibTrans" cxnId="{EE80A879-244F-4314-8E1F-D7AA019D0FF3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2835515A-63F1-4CC2-AE4E-1554F45F837E}">
      <dgm:prSet custT="1"/>
      <dgm:spPr>
        <a:noFill/>
        <a:ln>
          <a:noFill/>
        </a:ln>
      </dgm:spPr>
      <dgm:t>
        <a:bodyPr/>
        <a:lstStyle/>
        <a:p>
          <a:r>
            <a:rPr lang="ru-RU" sz="1200" b="1" dirty="0">
              <a:solidFill>
                <a:srgbClr val="236CB0"/>
              </a:solidFill>
              <a:latin typeface="+mn-lt"/>
            </a:rPr>
            <a:t>Период эксплуатации</a:t>
          </a:r>
        </a:p>
      </dgm:t>
    </dgm:pt>
    <dgm:pt modelId="{615C5061-1EF4-4CC0-BC78-F4E85066D8BC}" type="parTrans" cxnId="{84169A1C-C714-4034-A960-75BEE72F4AE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96C4F3D6-7706-4704-B8F7-FC12A279FC39}" type="sibTrans" cxnId="{84169A1C-C714-4034-A960-75BEE72F4AE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4AF187F9-1EAF-4367-94DC-15CBD48CE5A2}">
      <dgm:prSet phldrT="[Текст]"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</a:rPr>
            <a:t>звукоизоляция наружных и внутренних ограждающих конструкций помещений</a:t>
          </a:r>
          <a:endParaRPr lang="ru-RU" sz="1200" dirty="0">
            <a:solidFill>
              <a:schemeClr val="tx1"/>
            </a:solidFill>
            <a:latin typeface="+mn-lt"/>
          </a:endParaRPr>
        </a:p>
      </dgm:t>
    </dgm:pt>
    <dgm:pt modelId="{882CF105-DDE6-484B-B224-31C6484FC8B1}" type="parTrans" cxnId="{9BB36C48-8D5C-47E3-AEC1-9F7953FCF3A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A7A1CAEC-83F7-49FB-94D1-F78D87FCF04F}" type="sibTrans" cxnId="{9BB36C48-8D5C-47E3-AEC1-9F7953FCF3A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0050450C-8666-46DE-9DF2-E55DC373BC50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</a:rPr>
            <a:t>отсутствие постоянных рабочих мест в КНС-3 и ГНС-2</a:t>
          </a:r>
        </a:p>
      </dgm:t>
    </dgm:pt>
    <dgm:pt modelId="{59923995-530C-4022-A4AE-0DE72D9417D3}" type="parTrans" cxnId="{FD062756-4D33-4284-B49B-4DA8B6881290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783111C7-7D20-4079-B130-9B83AA9DA195}" type="sibTrans" cxnId="{FD062756-4D33-4284-B49B-4DA8B6881290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C78FCD27-5D29-471D-8614-3D6F0C0D4537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</a:rPr>
            <a:t>установка малошумного насосного оборудования</a:t>
          </a:r>
        </a:p>
      </dgm:t>
    </dgm:pt>
    <dgm:pt modelId="{9617BBE9-5750-4DB9-B20D-AF8A1D214192}" type="parTrans" cxnId="{03D8C218-8FB0-4395-80C8-F4F6B76FC3E5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CD2D693C-1D94-468F-92F8-C57A536F55F0}" type="sibTrans" cxnId="{03D8C218-8FB0-4395-80C8-F4F6B76FC3E5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F5A49FE6-2A28-4E98-9EF1-A4A14913C5AF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</a:rPr>
            <a:t>все насосы изолируются от трубопроводов резиновыми антивибрационными компенсаторами</a:t>
          </a:r>
        </a:p>
      </dgm:t>
    </dgm:pt>
    <dgm:pt modelId="{D304C31E-C6DB-4261-84F1-2800B11186D7}" type="parTrans" cxnId="{CC28BC69-1990-4DAA-B1D6-005CB6FDB5C7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9F58F86D-2D73-4F10-A019-79F194A1FD78}" type="sibTrans" cxnId="{CC28BC69-1990-4DAA-B1D6-005CB6FDB5C7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01E3980B-7FFB-4C4E-9664-86700BDC06B7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</a:rPr>
            <a:t>применение инженерного оборудования на виброизолирующих основаниях</a:t>
          </a:r>
        </a:p>
      </dgm:t>
    </dgm:pt>
    <dgm:pt modelId="{098857C9-694B-42E0-B144-CEC01B2F989D}" type="parTrans" cxnId="{BA455928-9145-4A84-94F0-BF461006BC0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A081A4A7-A44D-4705-8C20-845514C49188}" type="sibTrans" cxnId="{BA455928-9145-4A84-94F0-BF461006BC09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B6A02027-C7CC-4078-9762-CE40CB1BF08D}">
      <dgm:prSet phldrT="[Текст]" custT="1"/>
      <dgm:spPr>
        <a:noFill/>
        <a:ln>
          <a:noFill/>
        </a:ln>
      </dgm:spPr>
      <dgm:t>
        <a:bodyPr/>
        <a:lstStyle/>
        <a:p>
          <a:pPr>
            <a:buChar char="•"/>
          </a:pPr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глушение двигателя автотранспорта при нахождении на площадке</a:t>
          </a:r>
          <a:endParaRPr lang="ru-RU" sz="1200" dirty="0">
            <a:solidFill>
              <a:schemeClr val="tx1"/>
            </a:solidFill>
            <a:latin typeface="+mn-lt"/>
          </a:endParaRPr>
        </a:p>
      </dgm:t>
    </dgm:pt>
    <dgm:pt modelId="{1CE29D26-F003-4DF1-B19B-3CAE5E3BE0C7}" type="parTrans" cxnId="{B9536DBD-F05D-4D2B-9956-27AB6F84CA88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34BABB42-2F75-44CF-9DCE-BCEAEA1C865D}" type="sibTrans" cxnId="{B9536DBD-F05D-4D2B-9956-27AB6F84CA88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31A8230E-1312-449E-B1A0-9514FA5A8AF8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применение технически исправных машин и механизмов</a:t>
          </a:r>
        </a:p>
      </dgm:t>
    </dgm:pt>
    <dgm:pt modelId="{136D7C5A-7467-4E82-BCB1-D43DF73F5E73}" type="parTrans" cxnId="{713C3241-BEF5-410E-935D-A3CAE99005B0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CCE1D726-EE1C-4836-996B-50441119152C}" type="sibTrans" cxnId="{713C3241-BEF5-410E-935D-A3CAE99005B0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708CD3E6-5467-486A-A1C7-9DC32C059825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равномерное распределение шумящей строительной техники по строительной площадке</a:t>
          </a:r>
        </a:p>
      </dgm:t>
    </dgm:pt>
    <dgm:pt modelId="{CF2DD1AB-27EE-4862-B7B3-EFC8110BE912}" type="parTrans" cxnId="{EB06643B-D8A0-4250-B2D3-8E054FA0966D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77E877E2-D7B8-4F0A-B2F1-15C9AA73BF2C}" type="sibTrans" cxnId="{EB06643B-D8A0-4250-B2D3-8E054FA0966D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9730A1B3-7422-464C-8A5F-73F7C36AB672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организовать строительные работы с условием соблюдения «разряженного» режима работы</a:t>
          </a:r>
        </a:p>
      </dgm:t>
    </dgm:pt>
    <dgm:pt modelId="{2514DCB4-1475-4919-9A8D-C0C8EF369D1A}" type="parTrans" cxnId="{D9FF26E7-6009-4D49-9E77-816525EA3A9F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C9CA27F6-443C-4651-8787-ECAC0100EF4A}" type="sibTrans" cxnId="{D9FF26E7-6009-4D49-9E77-816525EA3A9F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07E18220-26DD-46DA-A9F0-EE28A1F5DBF5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оптимизация передвижения грузового автотранспорта по территории стройплощадки</a:t>
          </a:r>
        </a:p>
      </dgm:t>
    </dgm:pt>
    <dgm:pt modelId="{8F355F6A-73AD-4A8B-9577-221FA5447C6E}" type="parTrans" cxnId="{66C9A97F-9EFA-40C4-8118-62DCBAC1EE56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7F202B58-B37D-4CDE-971E-A0B179300492}" type="sibTrans" cxnId="{66C9A97F-9EFA-40C4-8118-62DCBAC1EE56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EA709053-488A-4F56-ABBB-BDE7249AC007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ограничение скорости движения автомашин по стройплощадке</a:t>
          </a:r>
        </a:p>
      </dgm:t>
    </dgm:pt>
    <dgm:pt modelId="{8182D1D0-F926-4D98-8A9A-89A5D4464ED9}" type="parTrans" cxnId="{A2529BC3-E4A0-484D-B71C-EF150FD33EAF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8C6E255B-7027-46EF-A410-F6407BD56604}" type="sibTrans" cxnId="{A2529BC3-E4A0-484D-B71C-EF150FD33EAF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393FB6FE-AA0F-4C4B-8AF8-36AE342232C5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улучшение качества подъездных и внутриплощадочных дорог</a:t>
          </a:r>
        </a:p>
      </dgm:t>
    </dgm:pt>
    <dgm:pt modelId="{F200E467-849F-45A0-9C17-36ABD2085E5F}" type="parTrans" cxnId="{2309945D-734E-424A-AF82-078206734295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5A294217-9712-43F2-BC27-0AAFCEE71256}" type="sibTrans" cxnId="{2309945D-734E-424A-AF82-078206734295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B9340F2E-6B91-40A6-94A2-F7840E7AE82D}">
      <dgm:prSet custT="1"/>
      <dgm:spPr>
        <a:noFill/>
        <a:ln>
          <a:noFill/>
        </a:ln>
      </dgm:spPr>
      <dgm:t>
        <a:bodyPr/>
        <a:lstStyle/>
        <a:p>
          <a:r>
            <a:rPr lang="ru-RU" sz="1200" b="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исключить громкоговорящую связь</a:t>
          </a:r>
        </a:p>
      </dgm:t>
    </dgm:pt>
    <dgm:pt modelId="{99A79B6D-1B96-47D4-B736-0940D52ED860}" type="parTrans" cxnId="{7A3C589F-5F1E-47F1-BB1E-EE317694A86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2A811B57-6396-4226-B3DC-5C2049BA85D4}" type="sibTrans" cxnId="{7A3C589F-5F1E-47F1-BB1E-EE317694A86B}">
      <dgm:prSet/>
      <dgm:spPr/>
      <dgm:t>
        <a:bodyPr/>
        <a:lstStyle/>
        <a:p>
          <a:endParaRPr lang="ru-RU" sz="1000">
            <a:solidFill>
              <a:srgbClr val="236CB0"/>
            </a:solidFill>
            <a:latin typeface="+mn-lt"/>
          </a:endParaRPr>
        </a:p>
      </dgm:t>
    </dgm:pt>
    <dgm:pt modelId="{D941E3C5-992E-4BC9-9383-C53151DE3195}" type="pres">
      <dgm:prSet presAssocID="{AF0FB73D-7861-4929-8625-C85ABE773AAB}" presName="Name0" presStyleCnt="0">
        <dgm:presLayoutVars>
          <dgm:dir/>
          <dgm:animLvl val="lvl"/>
          <dgm:resizeHandles val="exact"/>
        </dgm:presLayoutVars>
      </dgm:prSet>
      <dgm:spPr/>
    </dgm:pt>
    <dgm:pt modelId="{5AD0376E-06C6-4415-97C5-2B82034F330E}" type="pres">
      <dgm:prSet presAssocID="{298EA5FB-4517-46AB-B4C3-AC9854219624}" presName="boxAndChildren" presStyleCnt="0"/>
      <dgm:spPr/>
    </dgm:pt>
    <dgm:pt modelId="{84B9B272-35E4-4CCC-8B1A-E39998DCF917}" type="pres">
      <dgm:prSet presAssocID="{298EA5FB-4517-46AB-B4C3-AC9854219624}" presName="parentTextBox" presStyleLbl="node1" presStyleIdx="0" presStyleCnt="3"/>
      <dgm:spPr/>
    </dgm:pt>
    <dgm:pt modelId="{E30EB57B-89AA-4F74-8016-549D31CAA793}" type="pres">
      <dgm:prSet presAssocID="{298EA5FB-4517-46AB-B4C3-AC9854219624}" presName="entireBox" presStyleLbl="node1" presStyleIdx="0" presStyleCnt="3" custLinFactY="-39684" custLinFactNeighborX="0" custLinFactNeighborY="-100000"/>
      <dgm:spPr/>
    </dgm:pt>
    <dgm:pt modelId="{892A1164-7B35-40C2-BC52-E3336CD0DB1F}" type="pres">
      <dgm:prSet presAssocID="{298EA5FB-4517-46AB-B4C3-AC9854219624}" presName="descendantBox" presStyleCnt="0"/>
      <dgm:spPr/>
    </dgm:pt>
    <dgm:pt modelId="{63601BA5-12CC-4B81-A544-3542C17D3949}" type="pres">
      <dgm:prSet presAssocID="{E794C0F2-942E-44E1-9035-85CDCE3A2607}" presName="childTextBox" presStyleLbl="fgAccFollowNode1" presStyleIdx="0" presStyleCnt="6" custLinFactY="-121103" custLinFactNeighborX="0" custLinFactNeighborY="-200000">
        <dgm:presLayoutVars>
          <dgm:bulletEnabled val="1"/>
        </dgm:presLayoutVars>
      </dgm:prSet>
      <dgm:spPr/>
    </dgm:pt>
    <dgm:pt modelId="{48389129-2EF8-4F3D-BFD2-C6566F5B5873}" type="pres">
      <dgm:prSet presAssocID="{F42EE323-CC4E-4838-A639-2F15514A7C43}" presName="childTextBox" presStyleLbl="fgAccFollowNode1" presStyleIdx="1" presStyleCnt="6" custLinFactY="-122706" custLinFactNeighborY="-200000">
        <dgm:presLayoutVars>
          <dgm:bulletEnabled val="1"/>
        </dgm:presLayoutVars>
      </dgm:prSet>
      <dgm:spPr/>
    </dgm:pt>
    <dgm:pt modelId="{F8D04A21-AA1C-4239-9C68-E7ECA2D042EA}" type="pres">
      <dgm:prSet presAssocID="{83FC0095-0C11-447B-A6CD-4198E7508A0F}" presName="sp" presStyleCnt="0"/>
      <dgm:spPr/>
    </dgm:pt>
    <dgm:pt modelId="{D16ABB93-EEAC-448C-BFBE-2B781092F14C}" type="pres">
      <dgm:prSet presAssocID="{30CACAA6-BA75-412A-A8F9-707A926D5BAE}" presName="arrowAndChildren" presStyleCnt="0"/>
      <dgm:spPr/>
    </dgm:pt>
    <dgm:pt modelId="{AF9F48D5-F539-41C2-9BDE-E805A3B84FB2}" type="pres">
      <dgm:prSet presAssocID="{30CACAA6-BA75-412A-A8F9-707A926D5BAE}" presName="parentTextArrow" presStyleLbl="node1" presStyleIdx="0" presStyleCnt="3"/>
      <dgm:spPr/>
    </dgm:pt>
    <dgm:pt modelId="{37138F54-71EE-4C9B-82D4-B808A35DE0DA}" type="pres">
      <dgm:prSet presAssocID="{30CACAA6-BA75-412A-A8F9-707A926D5BAE}" presName="arrow" presStyleLbl="node1" presStyleIdx="1" presStyleCnt="3" custLinFactNeighborX="0" custLinFactNeighborY="-48446"/>
      <dgm:spPr/>
    </dgm:pt>
    <dgm:pt modelId="{13ED93D6-3655-406F-8981-044D345C1029}" type="pres">
      <dgm:prSet presAssocID="{30CACAA6-BA75-412A-A8F9-707A926D5BAE}" presName="descendantArrow" presStyleCnt="0"/>
      <dgm:spPr/>
    </dgm:pt>
    <dgm:pt modelId="{8B7F40EE-05B9-4602-A241-B1EDCBCBA7FB}" type="pres">
      <dgm:prSet presAssocID="{FDE6135C-EA5A-40D1-B1C5-530E6D26A3C1}" presName="childTextArrow" presStyleLbl="fgAccFollowNode1" presStyleIdx="2" presStyleCnt="6" custLinFactY="-74745" custLinFactNeighborX="0" custLinFactNeighborY="-100000">
        <dgm:presLayoutVars>
          <dgm:bulletEnabled val="1"/>
        </dgm:presLayoutVars>
      </dgm:prSet>
      <dgm:spPr/>
    </dgm:pt>
    <dgm:pt modelId="{93B815BF-19FA-4163-83E6-B66D4608CE19}" type="pres">
      <dgm:prSet presAssocID="{2835515A-63F1-4CC2-AE4E-1554F45F837E}" presName="childTextArrow" presStyleLbl="fgAccFollowNode1" presStyleIdx="3" presStyleCnt="6" custLinFactY="-84364" custLinFactNeighborY="-100000">
        <dgm:presLayoutVars>
          <dgm:bulletEnabled val="1"/>
        </dgm:presLayoutVars>
      </dgm:prSet>
      <dgm:spPr/>
    </dgm:pt>
    <dgm:pt modelId="{EB9D6349-50B1-40B1-9CDA-8D7BE7A51AB1}" type="pres">
      <dgm:prSet presAssocID="{3BFDC768-1B32-47EA-A58B-7E2DD033A610}" presName="sp" presStyleCnt="0"/>
      <dgm:spPr/>
    </dgm:pt>
    <dgm:pt modelId="{5AECA1DA-5375-46CE-B474-3CE4CC8AB410}" type="pres">
      <dgm:prSet presAssocID="{B3A0F96A-6A94-466E-A0FF-4C2B00840B6F}" presName="arrowAndChildren" presStyleCnt="0"/>
      <dgm:spPr/>
    </dgm:pt>
    <dgm:pt modelId="{CB6F8E6C-2E40-409A-8ECD-91DB58ED42FC}" type="pres">
      <dgm:prSet presAssocID="{B3A0F96A-6A94-466E-A0FF-4C2B00840B6F}" presName="parentTextArrow" presStyleLbl="node1" presStyleIdx="1" presStyleCnt="3"/>
      <dgm:spPr/>
    </dgm:pt>
    <dgm:pt modelId="{594BD607-6E03-4BA3-AAF9-81CEA66E2891}" type="pres">
      <dgm:prSet presAssocID="{B3A0F96A-6A94-466E-A0FF-4C2B00840B6F}" presName="arrow" presStyleLbl="node1" presStyleIdx="2" presStyleCnt="3"/>
      <dgm:spPr/>
    </dgm:pt>
    <dgm:pt modelId="{CB73E601-4835-4B25-836B-DDD3D5DBE1A9}" type="pres">
      <dgm:prSet presAssocID="{B3A0F96A-6A94-466E-A0FF-4C2B00840B6F}" presName="descendantArrow" presStyleCnt="0"/>
      <dgm:spPr/>
    </dgm:pt>
    <dgm:pt modelId="{6235A7D3-17D5-4399-9BF4-4AEB6DB63BFA}" type="pres">
      <dgm:prSet presAssocID="{4EB40BEF-3DDC-4355-A4B3-90B47FFF6B00}" presName="childTextArrow" presStyleLbl="fgAccFollowNode1" presStyleIdx="4" presStyleCnt="6" custLinFactNeighborX="-17" custLinFactNeighborY="-30961">
        <dgm:presLayoutVars>
          <dgm:bulletEnabled val="1"/>
        </dgm:presLayoutVars>
      </dgm:prSet>
      <dgm:spPr/>
    </dgm:pt>
    <dgm:pt modelId="{73F07026-D7FA-40EC-A4F2-8963498EF785}" type="pres">
      <dgm:prSet presAssocID="{5337BFF4-0522-4682-8EAF-5D3A515285A3}" presName="childTextArrow" presStyleLbl="fgAccFollowNode1" presStyleIdx="5" presStyleCnt="6" custLinFactNeighborX="-17" custLinFactNeighborY="-27521">
        <dgm:presLayoutVars>
          <dgm:bulletEnabled val="1"/>
        </dgm:presLayoutVars>
      </dgm:prSet>
      <dgm:spPr/>
    </dgm:pt>
  </dgm:ptLst>
  <dgm:cxnLst>
    <dgm:cxn modelId="{4FF2FB05-A936-45B7-A44E-B8B855AF399B}" type="presOf" srcId="{26C63411-6125-4603-9324-8257D7F669EF}" destId="{73F07026-D7FA-40EC-A4F2-8963498EF785}" srcOrd="0" destOrd="2" presId="urn:microsoft.com/office/officeart/2005/8/layout/process4"/>
    <dgm:cxn modelId="{E9CA3E10-EDCC-4B27-8F7D-21A0FFC3AA15}" type="presOf" srcId="{393FB6FE-AA0F-4C4B-8AF8-36AE342232C5}" destId="{63601BA5-12CC-4B81-A544-3542C17D3949}" srcOrd="0" destOrd="7" presId="urn:microsoft.com/office/officeart/2005/8/layout/process4"/>
    <dgm:cxn modelId="{70800C13-EED0-4734-8D60-3FE359980B1E}" type="presOf" srcId="{2835515A-63F1-4CC2-AE4E-1554F45F837E}" destId="{93B815BF-19FA-4163-83E6-B66D4608CE19}" srcOrd="0" destOrd="0" presId="urn:microsoft.com/office/officeart/2005/8/layout/process4"/>
    <dgm:cxn modelId="{FC391813-1AB6-463B-967A-EBEDC3BE3CD1}" type="presOf" srcId="{F42EE323-CC4E-4838-A639-2F15514A7C43}" destId="{48389129-2EF8-4F3D-BFD2-C6566F5B5873}" srcOrd="0" destOrd="0" presId="urn:microsoft.com/office/officeart/2005/8/layout/process4"/>
    <dgm:cxn modelId="{BF43A715-4F02-4B37-8A39-6798659FB17E}" type="presOf" srcId="{0B966657-687A-4718-BD17-F59728782ABF}" destId="{8B7F40EE-05B9-4602-A241-B1EDCBCBA7FB}" srcOrd="0" destOrd="2" presId="urn:microsoft.com/office/officeart/2005/8/layout/process4"/>
    <dgm:cxn modelId="{31C59018-7375-4525-A56E-060DEEB47692}" type="presOf" srcId="{4AF187F9-1EAF-4367-94DC-15CBD48CE5A2}" destId="{48389129-2EF8-4F3D-BFD2-C6566F5B5873}" srcOrd="0" destOrd="1" presId="urn:microsoft.com/office/officeart/2005/8/layout/process4"/>
    <dgm:cxn modelId="{03D8C218-8FB0-4395-80C8-F4F6B76FC3E5}" srcId="{F42EE323-CC4E-4838-A639-2F15514A7C43}" destId="{C78FCD27-5D29-471D-8614-3D6F0C0D4537}" srcOrd="2" destOrd="0" parTransId="{9617BBE9-5750-4DB9-B20D-AF8A1D214192}" sibTransId="{CD2D693C-1D94-468F-92F8-C57A536F55F0}"/>
    <dgm:cxn modelId="{84169A1C-C714-4034-A960-75BEE72F4AEB}" srcId="{30CACAA6-BA75-412A-A8F9-707A926D5BAE}" destId="{2835515A-63F1-4CC2-AE4E-1554F45F837E}" srcOrd="1" destOrd="0" parTransId="{615C5061-1EF4-4CC0-BC78-F4E85066D8BC}" sibTransId="{96C4F3D6-7706-4704-B8F7-FC12A279FC39}"/>
    <dgm:cxn modelId="{BA455928-9145-4A84-94F0-BF461006BC09}" srcId="{F42EE323-CC4E-4838-A639-2F15514A7C43}" destId="{01E3980B-7FFB-4C4E-9664-86700BDC06B7}" srcOrd="4" destOrd="0" parTransId="{098857C9-694B-42E0-B144-CEC01B2F989D}" sibTransId="{A081A4A7-A44D-4705-8C20-845514C49188}"/>
    <dgm:cxn modelId="{0399C230-256C-4DF0-A98B-370E771D52F4}" srcId="{AF0FB73D-7861-4929-8625-C85ABE773AAB}" destId="{B3A0F96A-6A94-466E-A0FF-4C2B00840B6F}" srcOrd="0" destOrd="0" parTransId="{E46BBDAA-4FAB-4973-8BC0-F38006CFC057}" sibTransId="{3BFDC768-1B32-47EA-A58B-7E2DD033A610}"/>
    <dgm:cxn modelId="{647EDC35-B8B9-4D5A-9B87-3C97A93B0947}" type="presOf" srcId="{B6A02027-C7CC-4078-9762-CE40CB1BF08D}" destId="{63601BA5-12CC-4B81-A544-3542C17D3949}" srcOrd="0" destOrd="1" presId="urn:microsoft.com/office/officeart/2005/8/layout/process4"/>
    <dgm:cxn modelId="{EB06643B-D8A0-4250-B2D3-8E054FA0966D}" srcId="{E794C0F2-942E-44E1-9035-85CDCE3A2607}" destId="{708CD3E6-5467-486A-A1C7-9DC32C059825}" srcOrd="2" destOrd="0" parTransId="{CF2DD1AB-27EE-4862-B7B3-EFC8110BE912}" sibTransId="{77E877E2-D7B8-4F0A-B2F1-15C9AA73BF2C}"/>
    <dgm:cxn modelId="{3793703B-17DE-4E50-A507-1677F8BFAE25}" srcId="{4EB40BEF-3DDC-4355-A4B3-90B47FFF6B00}" destId="{50B490FF-1B9A-4F17-8CD7-4788FBE153FA}" srcOrd="1" destOrd="0" parTransId="{BE9577B2-3719-4CAC-8080-3E5E302EA43A}" sibTransId="{E7308753-384A-4BA7-BCE8-81C3CF344822}"/>
    <dgm:cxn modelId="{7E22885B-1D58-46C4-9F90-F3DE5F1A2BB9}" srcId="{5337BFF4-0522-4682-8EAF-5D3A515285A3}" destId="{26C63411-6125-4603-9324-8257D7F669EF}" srcOrd="1" destOrd="0" parTransId="{DBD8AEC4-61E3-4F04-91D9-A2B77FD0E6C9}" sibTransId="{9105FAA7-D4E4-4F8C-96B7-D6D1EA599118}"/>
    <dgm:cxn modelId="{41F44F5C-14ED-427F-A6A8-00DB06B21695}" type="presOf" srcId="{FDE6135C-EA5A-40D1-B1C5-530E6D26A3C1}" destId="{8B7F40EE-05B9-4602-A241-B1EDCBCBA7FB}" srcOrd="0" destOrd="0" presId="urn:microsoft.com/office/officeart/2005/8/layout/process4"/>
    <dgm:cxn modelId="{2309945D-734E-424A-AF82-078206734295}" srcId="{E794C0F2-942E-44E1-9035-85CDCE3A2607}" destId="{393FB6FE-AA0F-4C4B-8AF8-36AE342232C5}" srcOrd="6" destOrd="0" parTransId="{F200E467-849F-45A0-9C17-36ABD2085E5F}" sibTransId="{5A294217-9712-43F2-BC27-0AAFCEE71256}"/>
    <dgm:cxn modelId="{713C3241-BEF5-410E-935D-A3CAE99005B0}" srcId="{E794C0F2-942E-44E1-9035-85CDCE3A2607}" destId="{31A8230E-1312-449E-B1A0-9514FA5A8AF8}" srcOrd="1" destOrd="0" parTransId="{136D7C5A-7467-4E82-BCB1-D43DF73F5E73}" sibTransId="{CCE1D726-EE1C-4836-996B-50441119152C}"/>
    <dgm:cxn modelId="{5C06FF63-BB6A-46E9-BEBF-F0ECB3B3FA3C}" type="presOf" srcId="{B3A0F96A-6A94-466E-A0FF-4C2B00840B6F}" destId="{594BD607-6E03-4BA3-AAF9-81CEA66E2891}" srcOrd="1" destOrd="0" presId="urn:microsoft.com/office/officeart/2005/8/layout/process4"/>
    <dgm:cxn modelId="{A872C446-4B4E-418D-BF62-543B28A8B4FF}" type="presOf" srcId="{01E3980B-7FFB-4C4E-9664-86700BDC06B7}" destId="{48389129-2EF8-4F3D-BFD2-C6566F5B5873}" srcOrd="0" destOrd="5" presId="urn:microsoft.com/office/officeart/2005/8/layout/process4"/>
    <dgm:cxn modelId="{9BB36C48-8D5C-47E3-AEC1-9F7953FCF3AB}" srcId="{F42EE323-CC4E-4838-A639-2F15514A7C43}" destId="{4AF187F9-1EAF-4367-94DC-15CBD48CE5A2}" srcOrd="0" destOrd="0" parTransId="{882CF105-DDE6-484B-B224-31C6484FC8B1}" sibTransId="{A7A1CAEC-83F7-49FB-94D1-F78D87FCF04F}"/>
    <dgm:cxn modelId="{4BF0B748-57F0-4926-B881-6EB499D4207B}" type="presOf" srcId="{30CACAA6-BA75-412A-A8F9-707A926D5BAE}" destId="{37138F54-71EE-4C9B-82D4-B808A35DE0DA}" srcOrd="1" destOrd="0" presId="urn:microsoft.com/office/officeart/2005/8/layout/process4"/>
    <dgm:cxn modelId="{0CB4E168-49CE-4657-A152-3DC1CC67E4AA}" type="presOf" srcId="{5337BFF4-0522-4682-8EAF-5D3A515285A3}" destId="{73F07026-D7FA-40EC-A4F2-8963498EF785}" srcOrd="0" destOrd="0" presId="urn:microsoft.com/office/officeart/2005/8/layout/process4"/>
    <dgm:cxn modelId="{CC28BC69-1990-4DAA-B1D6-005CB6FDB5C7}" srcId="{F42EE323-CC4E-4838-A639-2F15514A7C43}" destId="{F5A49FE6-2A28-4E98-9EF1-A4A14913C5AF}" srcOrd="3" destOrd="0" parTransId="{D304C31E-C6DB-4261-84F1-2800B11186D7}" sibTransId="{9F58F86D-2D73-4F10-A019-79F194A1FD78}"/>
    <dgm:cxn modelId="{22F7F86D-E9AA-4FE1-9D6B-20C933C0134A}" type="presOf" srcId="{298EA5FB-4517-46AB-B4C3-AC9854219624}" destId="{E30EB57B-89AA-4F74-8016-549D31CAA793}" srcOrd="1" destOrd="0" presId="urn:microsoft.com/office/officeart/2005/8/layout/process4"/>
    <dgm:cxn modelId="{E1BFFB6E-DBA9-47B3-8A28-3F5A5EF3B8A9}" type="presOf" srcId="{B3A0F96A-6A94-466E-A0FF-4C2B00840B6F}" destId="{CB6F8E6C-2E40-409A-8ECD-91DB58ED42FC}" srcOrd="0" destOrd="0" presId="urn:microsoft.com/office/officeart/2005/8/layout/process4"/>
    <dgm:cxn modelId="{C5359872-7AA9-4697-BE26-213F159436AA}" type="presOf" srcId="{4EB40BEF-3DDC-4355-A4B3-90B47FFF6B00}" destId="{6235A7D3-17D5-4399-9BF4-4AEB6DB63BFA}" srcOrd="0" destOrd="0" presId="urn:microsoft.com/office/officeart/2005/8/layout/process4"/>
    <dgm:cxn modelId="{245D1353-C0E3-42B8-81DF-9D013F8CF4BF}" type="presOf" srcId="{DBED5CB8-2847-4F06-A950-98F4B106791B}" destId="{8B7F40EE-05B9-4602-A241-B1EDCBCBA7FB}" srcOrd="0" destOrd="1" presId="urn:microsoft.com/office/officeart/2005/8/layout/process4"/>
    <dgm:cxn modelId="{60B22754-477D-4F0A-A386-B3521192BE48}" type="presOf" srcId="{DD48FA59-A58F-435D-9264-3DD7DCC78722}" destId="{93B815BF-19FA-4163-83E6-B66D4608CE19}" srcOrd="0" destOrd="1" presId="urn:microsoft.com/office/officeart/2005/8/layout/process4"/>
    <dgm:cxn modelId="{FD062756-4D33-4284-B49B-4DA8B6881290}" srcId="{F42EE323-CC4E-4838-A639-2F15514A7C43}" destId="{0050450C-8666-46DE-9DF2-E55DC373BC50}" srcOrd="1" destOrd="0" parTransId="{59923995-530C-4022-A4AE-0DE72D9417D3}" sibTransId="{783111C7-7D20-4079-B130-9B83AA9DA195}"/>
    <dgm:cxn modelId="{EE80A879-244F-4314-8E1F-D7AA019D0FF3}" srcId="{2835515A-63F1-4CC2-AE4E-1554F45F837E}" destId="{DD48FA59-A58F-435D-9264-3DD7DCC78722}" srcOrd="0" destOrd="0" parTransId="{5C2BCAAF-905F-41FA-B591-828E1DD98364}" sibTransId="{D1C3BA2C-446D-4453-9A9D-EED216D508F3}"/>
    <dgm:cxn modelId="{76F5367D-2D64-4740-98C6-625FA8F41898}" srcId="{FDE6135C-EA5A-40D1-B1C5-530E6D26A3C1}" destId="{0B966657-687A-4718-BD17-F59728782ABF}" srcOrd="1" destOrd="0" parTransId="{F89CAB36-1DF7-4E42-8BFB-29F6B559DC45}" sibTransId="{EBFC1D84-0404-4D5B-A451-76E82E4FA254}"/>
    <dgm:cxn modelId="{66C9A97F-9EFA-40C4-8118-62DCBAC1EE56}" srcId="{E794C0F2-942E-44E1-9035-85CDCE3A2607}" destId="{07E18220-26DD-46DA-A9F0-EE28A1F5DBF5}" srcOrd="4" destOrd="0" parTransId="{8F355F6A-73AD-4A8B-9577-221FA5447C6E}" sibTransId="{7F202B58-B37D-4CDE-971E-A0B179300492}"/>
    <dgm:cxn modelId="{9D731983-6B3B-49AF-AD37-E2DE8606FEF8}" srcId="{B3A0F96A-6A94-466E-A0FF-4C2B00840B6F}" destId="{5337BFF4-0522-4682-8EAF-5D3A515285A3}" srcOrd="1" destOrd="0" parTransId="{B555348F-B9F2-43F0-AAC6-74B34C48AD9C}" sibTransId="{BFB67314-B082-4D35-BA0A-D3CF3E033688}"/>
    <dgm:cxn modelId="{F5D40085-A047-4DC8-B484-06611FD4F710}" srcId="{5337BFF4-0522-4682-8EAF-5D3A515285A3}" destId="{DBFD1E5C-4B7C-413B-9D37-F1D20AA1DC65}" srcOrd="0" destOrd="0" parTransId="{43D4602C-4D11-4556-ACAF-3441574D7126}" sibTransId="{E0F94D1A-DADB-4382-B5E4-91A0C67BEED0}"/>
    <dgm:cxn modelId="{14F07B85-9053-43C8-82BC-B27509ED7141}" type="presOf" srcId="{31A8230E-1312-449E-B1A0-9514FA5A8AF8}" destId="{63601BA5-12CC-4B81-A544-3542C17D3949}" srcOrd="0" destOrd="2" presId="urn:microsoft.com/office/officeart/2005/8/layout/process4"/>
    <dgm:cxn modelId="{4EA0948C-6080-4631-AD94-2104D35DBD02}" srcId="{AF0FB73D-7861-4929-8625-C85ABE773AAB}" destId="{30CACAA6-BA75-412A-A8F9-707A926D5BAE}" srcOrd="1" destOrd="0" parTransId="{1E0FC810-B9D7-4119-858D-090ACDEBB49A}" sibTransId="{83FC0095-0C11-447B-A6CD-4198E7508A0F}"/>
    <dgm:cxn modelId="{4125EF8E-C28D-4A94-9873-92D24D0B4943}" type="presOf" srcId="{AF0FB73D-7861-4929-8625-C85ABE773AAB}" destId="{D941E3C5-992E-4BC9-9383-C53151DE3195}" srcOrd="0" destOrd="0" presId="urn:microsoft.com/office/officeart/2005/8/layout/process4"/>
    <dgm:cxn modelId="{F76FEC94-8A83-4F46-A878-7CF284EB57DD}" type="presOf" srcId="{0050450C-8666-46DE-9DF2-E55DC373BC50}" destId="{48389129-2EF8-4F3D-BFD2-C6566F5B5873}" srcOrd="0" destOrd="2" presId="urn:microsoft.com/office/officeart/2005/8/layout/process4"/>
    <dgm:cxn modelId="{A36F0296-A614-491B-AFD6-6F1F397FA521}" srcId="{4EB40BEF-3DDC-4355-A4B3-90B47FFF6B00}" destId="{1E16F79B-E6DE-4B66-B99C-428CD4B6EEB2}" srcOrd="0" destOrd="0" parTransId="{3CCBF0A5-C390-44D8-B8B2-2AE966424D63}" sibTransId="{213CEEE0-FF84-448D-BF04-47F7F706CD77}"/>
    <dgm:cxn modelId="{2CFE379A-9766-4353-B65E-A40FF381029C}" type="presOf" srcId="{30CACAA6-BA75-412A-A8F9-707A926D5BAE}" destId="{AF9F48D5-F539-41C2-9BDE-E805A3B84FB2}" srcOrd="0" destOrd="0" presId="urn:microsoft.com/office/officeart/2005/8/layout/process4"/>
    <dgm:cxn modelId="{7A3C589F-5F1E-47F1-BB1E-EE317694A86B}" srcId="{E794C0F2-942E-44E1-9035-85CDCE3A2607}" destId="{B9340F2E-6B91-40A6-94A2-F7840E7AE82D}" srcOrd="7" destOrd="0" parTransId="{99A79B6D-1B96-47D4-B736-0940D52ED860}" sibTransId="{2A811B57-6396-4226-B3DC-5C2049BA85D4}"/>
    <dgm:cxn modelId="{5C0016A2-F237-4F2F-81D8-7F22087D3627}" srcId="{298EA5FB-4517-46AB-B4C3-AC9854219624}" destId="{E794C0F2-942E-44E1-9035-85CDCE3A2607}" srcOrd="0" destOrd="0" parTransId="{2C71A8B0-2E7E-4B5F-B56A-F246948C0503}" sibTransId="{4832E2E8-D696-452F-B75B-213821517AAE}"/>
    <dgm:cxn modelId="{18615AAA-DC9F-4288-B6E5-24814F23A79B}" srcId="{B3A0F96A-6A94-466E-A0FF-4C2B00840B6F}" destId="{4EB40BEF-3DDC-4355-A4B3-90B47FFF6B00}" srcOrd="0" destOrd="0" parTransId="{04F1FBDF-05AD-4F75-BB95-A010503DABC5}" sibTransId="{2DBE3CE4-17C7-416F-BE76-4804B8053708}"/>
    <dgm:cxn modelId="{E919B0AE-3676-4167-AA66-D5832939B3CE}" srcId="{AF0FB73D-7861-4929-8625-C85ABE773AAB}" destId="{298EA5FB-4517-46AB-B4C3-AC9854219624}" srcOrd="2" destOrd="0" parTransId="{D3AE2C2A-A50A-48EB-BDF0-E5344761DDBB}" sibTransId="{2A3A5811-9B14-4050-BD34-99495AB48DAE}"/>
    <dgm:cxn modelId="{A964ADB6-D0AB-4520-B2AF-F9DB344EB309}" srcId="{FDE6135C-EA5A-40D1-B1C5-530E6D26A3C1}" destId="{DBED5CB8-2847-4F06-A950-98F4B106791B}" srcOrd="0" destOrd="0" parTransId="{3FCD302B-5F84-437A-853C-0AD5E0B7898A}" sibTransId="{BFEBCC24-1E82-43A3-83E6-2DFDFF4402C0}"/>
    <dgm:cxn modelId="{B9536DBD-F05D-4D2B-9956-27AB6F84CA88}" srcId="{E794C0F2-942E-44E1-9035-85CDCE3A2607}" destId="{B6A02027-C7CC-4078-9762-CE40CB1BF08D}" srcOrd="0" destOrd="0" parTransId="{1CE29D26-F003-4DF1-B19B-3CAE5E3BE0C7}" sibTransId="{34BABB42-2F75-44CF-9DCE-BCEAEA1C865D}"/>
    <dgm:cxn modelId="{73E5B8BD-F231-449C-B5B9-AFE3558EEFA9}" srcId="{30CACAA6-BA75-412A-A8F9-707A926D5BAE}" destId="{FDE6135C-EA5A-40D1-B1C5-530E6D26A3C1}" srcOrd="0" destOrd="0" parTransId="{5FEAA43C-763A-4297-8CFD-EDDB9DF44A6E}" sibTransId="{CF7B35DA-3CD4-4195-9285-12CC577FA817}"/>
    <dgm:cxn modelId="{125423BE-603E-4714-AB3A-B956C2E63130}" type="presOf" srcId="{DBFD1E5C-4B7C-413B-9D37-F1D20AA1DC65}" destId="{73F07026-D7FA-40EC-A4F2-8963498EF785}" srcOrd="0" destOrd="1" presId="urn:microsoft.com/office/officeart/2005/8/layout/process4"/>
    <dgm:cxn modelId="{328F62C0-9F53-4E11-8403-7565F148726B}" type="presOf" srcId="{298EA5FB-4517-46AB-B4C3-AC9854219624}" destId="{84B9B272-35E4-4CCC-8B1A-E39998DCF917}" srcOrd="0" destOrd="0" presId="urn:microsoft.com/office/officeart/2005/8/layout/process4"/>
    <dgm:cxn modelId="{A9EF7EC2-E22A-4929-AE65-1E128CDAC080}" type="presOf" srcId="{F5A49FE6-2A28-4E98-9EF1-A4A14913C5AF}" destId="{48389129-2EF8-4F3D-BFD2-C6566F5B5873}" srcOrd="0" destOrd="4" presId="urn:microsoft.com/office/officeart/2005/8/layout/process4"/>
    <dgm:cxn modelId="{A2529BC3-E4A0-484D-B71C-EF150FD33EAF}" srcId="{E794C0F2-942E-44E1-9035-85CDCE3A2607}" destId="{EA709053-488A-4F56-ABBB-BDE7249AC007}" srcOrd="5" destOrd="0" parTransId="{8182D1D0-F926-4D98-8A9A-89A5D4464ED9}" sibTransId="{8C6E255B-7027-46EF-A410-F6407BD56604}"/>
    <dgm:cxn modelId="{7F146ACD-1CDB-4379-B699-56ED922D8C57}" type="presOf" srcId="{C78FCD27-5D29-471D-8614-3D6F0C0D4537}" destId="{48389129-2EF8-4F3D-BFD2-C6566F5B5873}" srcOrd="0" destOrd="3" presId="urn:microsoft.com/office/officeart/2005/8/layout/process4"/>
    <dgm:cxn modelId="{F8A1C8D5-1898-42DD-858E-CCA933651A73}" type="presOf" srcId="{07E18220-26DD-46DA-A9F0-EE28A1F5DBF5}" destId="{63601BA5-12CC-4B81-A544-3542C17D3949}" srcOrd="0" destOrd="5" presId="urn:microsoft.com/office/officeart/2005/8/layout/process4"/>
    <dgm:cxn modelId="{C119D6D8-51F7-4882-A611-F8DFA6D0012C}" type="presOf" srcId="{708CD3E6-5467-486A-A1C7-9DC32C059825}" destId="{63601BA5-12CC-4B81-A544-3542C17D3949}" srcOrd="0" destOrd="3" presId="urn:microsoft.com/office/officeart/2005/8/layout/process4"/>
    <dgm:cxn modelId="{027546D9-2C35-4385-B043-E7BB23ADD9F9}" srcId="{298EA5FB-4517-46AB-B4C3-AC9854219624}" destId="{F42EE323-CC4E-4838-A639-2F15514A7C43}" srcOrd="1" destOrd="0" parTransId="{5F703373-4CAC-481F-8A8A-A504540B52C0}" sibTransId="{CCB03F48-EBDC-4FFC-9408-BC87A43F0769}"/>
    <dgm:cxn modelId="{B2289FD9-DB2A-4791-8AA7-8891EFB3F469}" type="presOf" srcId="{50B490FF-1B9A-4F17-8CD7-4788FBE153FA}" destId="{6235A7D3-17D5-4399-9BF4-4AEB6DB63BFA}" srcOrd="0" destOrd="2" presId="urn:microsoft.com/office/officeart/2005/8/layout/process4"/>
    <dgm:cxn modelId="{C61A16E0-6AC5-45D7-847E-356D2EDA4937}" type="presOf" srcId="{9730A1B3-7422-464C-8A5F-73F7C36AB672}" destId="{63601BA5-12CC-4B81-A544-3542C17D3949}" srcOrd="0" destOrd="4" presId="urn:microsoft.com/office/officeart/2005/8/layout/process4"/>
    <dgm:cxn modelId="{D90F77E5-834B-4981-A220-81F0226ABE29}" type="presOf" srcId="{EA709053-488A-4F56-ABBB-BDE7249AC007}" destId="{63601BA5-12CC-4B81-A544-3542C17D3949}" srcOrd="0" destOrd="6" presId="urn:microsoft.com/office/officeart/2005/8/layout/process4"/>
    <dgm:cxn modelId="{D9FF26E7-6009-4D49-9E77-816525EA3A9F}" srcId="{E794C0F2-942E-44E1-9035-85CDCE3A2607}" destId="{9730A1B3-7422-464C-8A5F-73F7C36AB672}" srcOrd="3" destOrd="0" parTransId="{2514DCB4-1475-4919-9A8D-C0C8EF369D1A}" sibTransId="{C9CA27F6-443C-4651-8787-ECAC0100EF4A}"/>
    <dgm:cxn modelId="{A217FBED-5F06-46E2-89FB-A8A4280FFC61}" type="presOf" srcId="{B9340F2E-6B91-40A6-94A2-F7840E7AE82D}" destId="{63601BA5-12CC-4B81-A544-3542C17D3949}" srcOrd="0" destOrd="8" presId="urn:microsoft.com/office/officeart/2005/8/layout/process4"/>
    <dgm:cxn modelId="{3C4BEFEF-5DEB-4C84-BA79-C15CDCFDBB94}" type="presOf" srcId="{E794C0F2-942E-44E1-9035-85CDCE3A2607}" destId="{63601BA5-12CC-4B81-A544-3542C17D3949}" srcOrd="0" destOrd="0" presId="urn:microsoft.com/office/officeart/2005/8/layout/process4"/>
    <dgm:cxn modelId="{4C57D6FB-2825-4C51-9FC8-559504F6BF37}" type="presOf" srcId="{1E16F79B-E6DE-4B66-B99C-428CD4B6EEB2}" destId="{6235A7D3-17D5-4399-9BF4-4AEB6DB63BFA}" srcOrd="0" destOrd="1" presId="urn:microsoft.com/office/officeart/2005/8/layout/process4"/>
    <dgm:cxn modelId="{98EDE2AD-5BC2-4224-BC12-D9EF473CF71B}" type="presParOf" srcId="{D941E3C5-992E-4BC9-9383-C53151DE3195}" destId="{5AD0376E-06C6-4415-97C5-2B82034F330E}" srcOrd="0" destOrd="0" presId="urn:microsoft.com/office/officeart/2005/8/layout/process4"/>
    <dgm:cxn modelId="{83B40B63-02BC-415F-9883-807BCB8BAF8A}" type="presParOf" srcId="{5AD0376E-06C6-4415-97C5-2B82034F330E}" destId="{84B9B272-35E4-4CCC-8B1A-E39998DCF917}" srcOrd="0" destOrd="0" presId="urn:microsoft.com/office/officeart/2005/8/layout/process4"/>
    <dgm:cxn modelId="{14EA39DA-92F3-4D38-9B0F-05DFE73E9AC5}" type="presParOf" srcId="{5AD0376E-06C6-4415-97C5-2B82034F330E}" destId="{E30EB57B-89AA-4F74-8016-549D31CAA793}" srcOrd="1" destOrd="0" presId="urn:microsoft.com/office/officeart/2005/8/layout/process4"/>
    <dgm:cxn modelId="{06ADD73C-B149-434D-8F71-7767E851C853}" type="presParOf" srcId="{5AD0376E-06C6-4415-97C5-2B82034F330E}" destId="{892A1164-7B35-40C2-BC52-E3336CD0DB1F}" srcOrd="2" destOrd="0" presId="urn:microsoft.com/office/officeart/2005/8/layout/process4"/>
    <dgm:cxn modelId="{A5DA61AA-4981-4E1B-A669-8818C8BD81DE}" type="presParOf" srcId="{892A1164-7B35-40C2-BC52-E3336CD0DB1F}" destId="{63601BA5-12CC-4B81-A544-3542C17D3949}" srcOrd="0" destOrd="0" presId="urn:microsoft.com/office/officeart/2005/8/layout/process4"/>
    <dgm:cxn modelId="{7BCDD66C-66DE-41E4-9025-50C71D4D55EB}" type="presParOf" srcId="{892A1164-7B35-40C2-BC52-E3336CD0DB1F}" destId="{48389129-2EF8-4F3D-BFD2-C6566F5B5873}" srcOrd="1" destOrd="0" presId="urn:microsoft.com/office/officeart/2005/8/layout/process4"/>
    <dgm:cxn modelId="{D4D2926C-CF1B-4B96-8B0B-B1807FB0C492}" type="presParOf" srcId="{D941E3C5-992E-4BC9-9383-C53151DE3195}" destId="{F8D04A21-AA1C-4239-9C68-E7ECA2D042EA}" srcOrd="1" destOrd="0" presId="urn:microsoft.com/office/officeart/2005/8/layout/process4"/>
    <dgm:cxn modelId="{F1F322F9-D106-48DB-9F3B-1EE1D1A58B83}" type="presParOf" srcId="{D941E3C5-992E-4BC9-9383-C53151DE3195}" destId="{D16ABB93-EEAC-448C-BFBE-2B781092F14C}" srcOrd="2" destOrd="0" presId="urn:microsoft.com/office/officeart/2005/8/layout/process4"/>
    <dgm:cxn modelId="{D18B2184-5404-40B5-B8B8-9A34221F8CAE}" type="presParOf" srcId="{D16ABB93-EEAC-448C-BFBE-2B781092F14C}" destId="{AF9F48D5-F539-41C2-9BDE-E805A3B84FB2}" srcOrd="0" destOrd="0" presId="urn:microsoft.com/office/officeart/2005/8/layout/process4"/>
    <dgm:cxn modelId="{1C55BAB3-C592-410E-A85A-124228BF0B4E}" type="presParOf" srcId="{D16ABB93-EEAC-448C-BFBE-2B781092F14C}" destId="{37138F54-71EE-4C9B-82D4-B808A35DE0DA}" srcOrd="1" destOrd="0" presId="urn:microsoft.com/office/officeart/2005/8/layout/process4"/>
    <dgm:cxn modelId="{9BAB9626-1B21-4E97-86D2-E9B03B340272}" type="presParOf" srcId="{D16ABB93-EEAC-448C-BFBE-2B781092F14C}" destId="{13ED93D6-3655-406F-8981-044D345C1029}" srcOrd="2" destOrd="0" presId="urn:microsoft.com/office/officeart/2005/8/layout/process4"/>
    <dgm:cxn modelId="{A6E2D8CB-5EEB-4FC2-8E0F-19776B4EAC99}" type="presParOf" srcId="{13ED93D6-3655-406F-8981-044D345C1029}" destId="{8B7F40EE-05B9-4602-A241-B1EDCBCBA7FB}" srcOrd="0" destOrd="0" presId="urn:microsoft.com/office/officeart/2005/8/layout/process4"/>
    <dgm:cxn modelId="{79A0A373-BCF3-45A0-9FD9-3F1F6B394883}" type="presParOf" srcId="{13ED93D6-3655-406F-8981-044D345C1029}" destId="{93B815BF-19FA-4163-83E6-B66D4608CE19}" srcOrd="1" destOrd="0" presId="urn:microsoft.com/office/officeart/2005/8/layout/process4"/>
    <dgm:cxn modelId="{6BD16D1E-F81B-48A9-9D33-50468CB94641}" type="presParOf" srcId="{D941E3C5-992E-4BC9-9383-C53151DE3195}" destId="{EB9D6349-50B1-40B1-9CDA-8D7BE7A51AB1}" srcOrd="3" destOrd="0" presId="urn:microsoft.com/office/officeart/2005/8/layout/process4"/>
    <dgm:cxn modelId="{1E4B0E09-EECA-405C-8660-B555EE0A8B54}" type="presParOf" srcId="{D941E3C5-992E-4BC9-9383-C53151DE3195}" destId="{5AECA1DA-5375-46CE-B474-3CE4CC8AB410}" srcOrd="4" destOrd="0" presId="urn:microsoft.com/office/officeart/2005/8/layout/process4"/>
    <dgm:cxn modelId="{D08CFA60-B76E-48B9-95D1-6BF08510730E}" type="presParOf" srcId="{5AECA1DA-5375-46CE-B474-3CE4CC8AB410}" destId="{CB6F8E6C-2E40-409A-8ECD-91DB58ED42FC}" srcOrd="0" destOrd="0" presId="urn:microsoft.com/office/officeart/2005/8/layout/process4"/>
    <dgm:cxn modelId="{B684BA16-603A-4427-8EE1-F0D9044D8444}" type="presParOf" srcId="{5AECA1DA-5375-46CE-B474-3CE4CC8AB410}" destId="{594BD607-6E03-4BA3-AAF9-81CEA66E2891}" srcOrd="1" destOrd="0" presId="urn:microsoft.com/office/officeart/2005/8/layout/process4"/>
    <dgm:cxn modelId="{05DB60D5-EC88-4FEF-B671-3CFF64CC46BE}" type="presParOf" srcId="{5AECA1DA-5375-46CE-B474-3CE4CC8AB410}" destId="{CB73E601-4835-4B25-836B-DDD3D5DBE1A9}" srcOrd="2" destOrd="0" presId="urn:microsoft.com/office/officeart/2005/8/layout/process4"/>
    <dgm:cxn modelId="{D1C247E2-A55E-4C07-980A-862CECD1A41F}" type="presParOf" srcId="{CB73E601-4835-4B25-836B-DDD3D5DBE1A9}" destId="{6235A7D3-17D5-4399-9BF4-4AEB6DB63BFA}" srcOrd="0" destOrd="0" presId="urn:microsoft.com/office/officeart/2005/8/layout/process4"/>
    <dgm:cxn modelId="{C0493A75-16F5-4489-9ECB-FBE63600BE69}" type="presParOf" srcId="{CB73E601-4835-4B25-836B-DDD3D5DBE1A9}" destId="{73F07026-D7FA-40EC-A4F2-8963498EF785}" srcOrd="1" destOrd="0" presId="urn:microsoft.com/office/officeart/2005/8/layout/process4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8258F3C-51ED-4C38-A84C-5551A2C6563F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186789-22CE-4AE3-A90C-04991492EE14}">
      <dgm:prSet phldrT="[Текст]" custT="1"/>
      <dgm:spPr>
        <a:solidFill>
          <a:srgbClr val="B5CEE5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/>
            <a:t>Сбор хозяйственно-бытовых сточных воды из здания ГНС-2</a:t>
          </a:r>
        </a:p>
      </dgm:t>
    </dgm:pt>
    <dgm:pt modelId="{340277B6-5272-4CE2-B461-0469BF508B97}" type="parTrans" cxnId="{ACFAFFE8-DEC4-4228-8616-EACEB647845B}">
      <dgm:prSet/>
      <dgm:spPr/>
      <dgm:t>
        <a:bodyPr/>
        <a:lstStyle/>
        <a:p>
          <a:endParaRPr lang="ru-RU" sz="1000"/>
        </a:p>
      </dgm:t>
    </dgm:pt>
    <dgm:pt modelId="{D7D5F1DA-6E83-49FC-9339-CAB6F785B66E}" type="sibTrans" cxnId="{ACFAFFE8-DEC4-4228-8616-EACEB647845B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95AF0EEA-7933-4740-B05F-FA29A4094838}">
      <dgm:prSet phldrT="[Текст]" custT="1"/>
      <dgm:spPr>
        <a:solidFill>
          <a:srgbClr val="B5CEE5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/>
            <a:t>Система канализации филиала «Азот»</a:t>
          </a:r>
        </a:p>
      </dgm:t>
    </dgm:pt>
    <dgm:pt modelId="{0E50BA1D-6431-4532-A2D8-B1EC68817D42}" type="parTrans" cxnId="{F807E46A-EF4A-4DE9-A9C7-920B5489A196}">
      <dgm:prSet/>
      <dgm:spPr/>
      <dgm:t>
        <a:bodyPr/>
        <a:lstStyle/>
        <a:p>
          <a:endParaRPr lang="ru-RU" sz="1000"/>
        </a:p>
      </dgm:t>
    </dgm:pt>
    <dgm:pt modelId="{409C9091-E284-4AA7-957F-8FDB2AA1BA71}" type="sibTrans" cxnId="{F807E46A-EF4A-4DE9-A9C7-920B5489A196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CC24B5AD-38FD-49ED-9CDA-851F9D603E27}">
      <dgm:prSet phldrT="[Текст]" custT="1"/>
      <dgm:spPr>
        <a:solidFill>
          <a:srgbClr val="B5CEE5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/>
            <a:t>Очистные сооружения (ЦОС)</a:t>
          </a:r>
          <a:endParaRPr lang="ru-RU" sz="1000" baseline="30000" dirty="0"/>
        </a:p>
      </dgm:t>
    </dgm:pt>
    <dgm:pt modelId="{2E33DD4E-C18F-4AEA-B68F-2F17EFE004EB}" type="parTrans" cxnId="{0702252B-4C52-407A-8993-E99C738BE6EB}">
      <dgm:prSet/>
      <dgm:spPr/>
      <dgm:t>
        <a:bodyPr/>
        <a:lstStyle/>
        <a:p>
          <a:endParaRPr lang="ru-RU" sz="1000"/>
        </a:p>
      </dgm:t>
    </dgm:pt>
    <dgm:pt modelId="{A9DB221A-8C96-4DD2-8BCD-711E6A67314E}" type="sibTrans" cxnId="{0702252B-4C52-407A-8993-E99C738BE6EB}">
      <dgm:prSet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9CD8C831-BB89-4F55-9C9C-BCB586B0D70F}" type="pres">
      <dgm:prSet presAssocID="{E8258F3C-51ED-4C38-A84C-5551A2C6563F}" presName="Name0" presStyleCnt="0">
        <dgm:presLayoutVars>
          <dgm:dir/>
          <dgm:resizeHandles val="exact"/>
        </dgm:presLayoutVars>
      </dgm:prSet>
      <dgm:spPr/>
    </dgm:pt>
    <dgm:pt modelId="{9DF40A7C-B21F-4DD1-A459-DA5EF6921F13}" type="pres">
      <dgm:prSet presAssocID="{96186789-22CE-4AE3-A90C-04991492EE14}" presName="node" presStyleLbl="node1" presStyleIdx="0" presStyleCnt="3">
        <dgm:presLayoutVars>
          <dgm:bulletEnabled val="1"/>
        </dgm:presLayoutVars>
      </dgm:prSet>
      <dgm:spPr/>
    </dgm:pt>
    <dgm:pt modelId="{9B4A7332-8CF7-4B90-B119-0463B294D4C8}" type="pres">
      <dgm:prSet presAssocID="{D7D5F1DA-6E83-49FC-9339-CAB6F785B66E}" presName="sibTrans" presStyleLbl="sibTrans2D1" presStyleIdx="0" presStyleCnt="2"/>
      <dgm:spPr/>
    </dgm:pt>
    <dgm:pt modelId="{D5401C49-0D56-459E-8EB4-125C42DF7577}" type="pres">
      <dgm:prSet presAssocID="{D7D5F1DA-6E83-49FC-9339-CAB6F785B66E}" presName="connectorText" presStyleLbl="sibTrans2D1" presStyleIdx="0" presStyleCnt="2"/>
      <dgm:spPr/>
    </dgm:pt>
    <dgm:pt modelId="{700E8CB0-BD36-40E1-940A-39500A895B24}" type="pres">
      <dgm:prSet presAssocID="{95AF0EEA-7933-4740-B05F-FA29A4094838}" presName="node" presStyleLbl="node1" presStyleIdx="1" presStyleCnt="3">
        <dgm:presLayoutVars>
          <dgm:bulletEnabled val="1"/>
        </dgm:presLayoutVars>
      </dgm:prSet>
      <dgm:spPr/>
    </dgm:pt>
    <dgm:pt modelId="{E5603D4A-D27D-4754-9A63-21964F0A801E}" type="pres">
      <dgm:prSet presAssocID="{409C9091-E284-4AA7-957F-8FDB2AA1BA71}" presName="sibTrans" presStyleLbl="sibTrans2D1" presStyleIdx="1" presStyleCnt="2"/>
      <dgm:spPr/>
    </dgm:pt>
    <dgm:pt modelId="{9E53689C-7D4C-4C1B-B1E0-81DDAEBDEE24}" type="pres">
      <dgm:prSet presAssocID="{409C9091-E284-4AA7-957F-8FDB2AA1BA71}" presName="connectorText" presStyleLbl="sibTrans2D1" presStyleIdx="1" presStyleCnt="2"/>
      <dgm:spPr/>
    </dgm:pt>
    <dgm:pt modelId="{51134FD8-EAE1-4129-9B0E-0B729FC58701}" type="pres">
      <dgm:prSet presAssocID="{CC24B5AD-38FD-49ED-9CDA-851F9D603E27}" presName="node" presStyleLbl="node1" presStyleIdx="2" presStyleCnt="3">
        <dgm:presLayoutVars>
          <dgm:bulletEnabled val="1"/>
        </dgm:presLayoutVars>
      </dgm:prSet>
      <dgm:spPr/>
    </dgm:pt>
  </dgm:ptLst>
  <dgm:cxnLst>
    <dgm:cxn modelId="{C3F51113-1568-403B-9A25-F9DD2DCF5915}" type="presOf" srcId="{E8258F3C-51ED-4C38-A84C-5551A2C6563F}" destId="{9CD8C831-BB89-4F55-9C9C-BCB586B0D70F}" srcOrd="0" destOrd="0" presId="urn:microsoft.com/office/officeart/2005/8/layout/process1"/>
    <dgm:cxn modelId="{0702252B-4C52-407A-8993-E99C738BE6EB}" srcId="{E8258F3C-51ED-4C38-A84C-5551A2C6563F}" destId="{CC24B5AD-38FD-49ED-9CDA-851F9D603E27}" srcOrd="2" destOrd="0" parTransId="{2E33DD4E-C18F-4AEA-B68F-2F17EFE004EB}" sibTransId="{A9DB221A-8C96-4DD2-8BCD-711E6A67314E}"/>
    <dgm:cxn modelId="{95D85669-084E-4D87-A240-B45C50689DF4}" type="presOf" srcId="{96186789-22CE-4AE3-A90C-04991492EE14}" destId="{9DF40A7C-B21F-4DD1-A459-DA5EF6921F13}" srcOrd="0" destOrd="0" presId="urn:microsoft.com/office/officeart/2005/8/layout/process1"/>
    <dgm:cxn modelId="{F807E46A-EF4A-4DE9-A9C7-920B5489A196}" srcId="{E8258F3C-51ED-4C38-A84C-5551A2C6563F}" destId="{95AF0EEA-7933-4740-B05F-FA29A4094838}" srcOrd="1" destOrd="0" parTransId="{0E50BA1D-6431-4532-A2D8-B1EC68817D42}" sibTransId="{409C9091-E284-4AA7-957F-8FDB2AA1BA71}"/>
    <dgm:cxn modelId="{C248E370-E9C3-4EBB-AD1C-15E6B7C38F6F}" type="presOf" srcId="{D7D5F1DA-6E83-49FC-9339-CAB6F785B66E}" destId="{9B4A7332-8CF7-4B90-B119-0463B294D4C8}" srcOrd="0" destOrd="0" presId="urn:microsoft.com/office/officeart/2005/8/layout/process1"/>
    <dgm:cxn modelId="{B7631F71-AA24-4CDF-B600-29FEC3F88740}" type="presOf" srcId="{409C9091-E284-4AA7-957F-8FDB2AA1BA71}" destId="{E5603D4A-D27D-4754-9A63-21964F0A801E}" srcOrd="0" destOrd="0" presId="urn:microsoft.com/office/officeart/2005/8/layout/process1"/>
    <dgm:cxn modelId="{D004688F-E325-4561-A16C-A0AB451C56A3}" type="presOf" srcId="{95AF0EEA-7933-4740-B05F-FA29A4094838}" destId="{700E8CB0-BD36-40E1-940A-39500A895B24}" srcOrd="0" destOrd="0" presId="urn:microsoft.com/office/officeart/2005/8/layout/process1"/>
    <dgm:cxn modelId="{4F2687A7-76D5-4508-8156-242437CE1E88}" type="presOf" srcId="{409C9091-E284-4AA7-957F-8FDB2AA1BA71}" destId="{9E53689C-7D4C-4C1B-B1E0-81DDAEBDEE24}" srcOrd="1" destOrd="0" presId="urn:microsoft.com/office/officeart/2005/8/layout/process1"/>
    <dgm:cxn modelId="{1CB2E5AD-5D2F-4E4B-9FE3-46FB7F75F841}" type="presOf" srcId="{D7D5F1DA-6E83-49FC-9339-CAB6F785B66E}" destId="{D5401C49-0D56-459E-8EB4-125C42DF7577}" srcOrd="1" destOrd="0" presId="urn:microsoft.com/office/officeart/2005/8/layout/process1"/>
    <dgm:cxn modelId="{C7C74FD1-ED29-4F65-AFF7-ED69AC5E1427}" type="presOf" srcId="{CC24B5AD-38FD-49ED-9CDA-851F9D603E27}" destId="{51134FD8-EAE1-4129-9B0E-0B729FC58701}" srcOrd="0" destOrd="0" presId="urn:microsoft.com/office/officeart/2005/8/layout/process1"/>
    <dgm:cxn modelId="{ACFAFFE8-DEC4-4228-8616-EACEB647845B}" srcId="{E8258F3C-51ED-4C38-A84C-5551A2C6563F}" destId="{96186789-22CE-4AE3-A90C-04991492EE14}" srcOrd="0" destOrd="0" parTransId="{340277B6-5272-4CE2-B461-0469BF508B97}" sibTransId="{D7D5F1DA-6E83-49FC-9339-CAB6F785B66E}"/>
    <dgm:cxn modelId="{28E379AA-7FF1-4631-A1D3-D53E92684A30}" type="presParOf" srcId="{9CD8C831-BB89-4F55-9C9C-BCB586B0D70F}" destId="{9DF40A7C-B21F-4DD1-A459-DA5EF6921F13}" srcOrd="0" destOrd="0" presId="urn:microsoft.com/office/officeart/2005/8/layout/process1"/>
    <dgm:cxn modelId="{384145FD-ED35-446B-9687-A1A9DB312792}" type="presParOf" srcId="{9CD8C831-BB89-4F55-9C9C-BCB586B0D70F}" destId="{9B4A7332-8CF7-4B90-B119-0463B294D4C8}" srcOrd="1" destOrd="0" presId="urn:microsoft.com/office/officeart/2005/8/layout/process1"/>
    <dgm:cxn modelId="{E5011842-F410-45E2-9B16-100C82888CF0}" type="presParOf" srcId="{9B4A7332-8CF7-4B90-B119-0463B294D4C8}" destId="{D5401C49-0D56-459E-8EB4-125C42DF7577}" srcOrd="0" destOrd="0" presId="urn:microsoft.com/office/officeart/2005/8/layout/process1"/>
    <dgm:cxn modelId="{AC227ADE-906B-4562-8D64-80302D06E9E6}" type="presParOf" srcId="{9CD8C831-BB89-4F55-9C9C-BCB586B0D70F}" destId="{700E8CB0-BD36-40E1-940A-39500A895B24}" srcOrd="2" destOrd="0" presId="urn:microsoft.com/office/officeart/2005/8/layout/process1"/>
    <dgm:cxn modelId="{EE007975-4224-4B3B-8B26-BE6C2130E646}" type="presParOf" srcId="{9CD8C831-BB89-4F55-9C9C-BCB586B0D70F}" destId="{E5603D4A-D27D-4754-9A63-21964F0A801E}" srcOrd="3" destOrd="0" presId="urn:microsoft.com/office/officeart/2005/8/layout/process1"/>
    <dgm:cxn modelId="{7BFD1638-7807-40E5-8A1A-8316235D6739}" type="presParOf" srcId="{E5603D4A-D27D-4754-9A63-21964F0A801E}" destId="{9E53689C-7D4C-4C1B-B1E0-81DDAEBDEE24}" srcOrd="0" destOrd="0" presId="urn:microsoft.com/office/officeart/2005/8/layout/process1"/>
    <dgm:cxn modelId="{6E2E6E0A-8EEC-4E95-B7BC-4797B04813BA}" type="presParOf" srcId="{9CD8C831-BB89-4F55-9C9C-BCB586B0D70F}" destId="{51134FD8-EAE1-4129-9B0E-0B729FC58701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8258F3C-51ED-4C38-A84C-5551A2C6563F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6186789-22CE-4AE3-A90C-04991492EE14}">
      <dgm:prSet phldrT="[Текст]" custT="1"/>
      <dgm:spPr>
        <a:solidFill>
          <a:srgbClr val="E18E8B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>
              <a:solidFill>
                <a:srgbClr val="ECECEC"/>
              </a:solidFill>
            </a:rPr>
            <a:t>Сбор дождевых и талых вод с территории ГНС-2</a:t>
          </a:r>
        </a:p>
      </dgm:t>
    </dgm:pt>
    <dgm:pt modelId="{340277B6-5272-4CE2-B461-0469BF508B97}" type="parTrans" cxnId="{ACFAFFE8-DEC4-4228-8616-EACEB647845B}">
      <dgm:prSet/>
      <dgm:spPr/>
      <dgm:t>
        <a:bodyPr/>
        <a:lstStyle/>
        <a:p>
          <a:endParaRPr lang="ru-RU" sz="1000"/>
        </a:p>
      </dgm:t>
    </dgm:pt>
    <dgm:pt modelId="{D7D5F1DA-6E83-49FC-9339-CAB6F785B66E}" type="sibTrans" cxnId="{ACFAFFE8-DEC4-4228-8616-EACEB647845B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95AF0EEA-7933-4740-B05F-FA29A4094838}">
      <dgm:prSet phldrT="[Текст]" custT="1"/>
      <dgm:spPr>
        <a:solidFill>
          <a:srgbClr val="E18E8B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>
              <a:solidFill>
                <a:srgbClr val="ECECEC"/>
              </a:solidFill>
            </a:rPr>
            <a:t>Локальные очистные сооружения </a:t>
          </a:r>
        </a:p>
        <a:p>
          <a:r>
            <a:rPr lang="en-US" sz="1000" dirty="0">
              <a:solidFill>
                <a:srgbClr val="ECECEC"/>
              </a:solidFill>
            </a:rPr>
            <a:t>FloTenk-OP-OM-SB-1,5</a:t>
          </a:r>
          <a:endParaRPr lang="ru-RU" sz="1000" dirty="0">
            <a:solidFill>
              <a:srgbClr val="ECECEC"/>
            </a:solidFill>
          </a:endParaRPr>
        </a:p>
      </dgm:t>
    </dgm:pt>
    <dgm:pt modelId="{0E50BA1D-6431-4532-A2D8-B1EC68817D42}" type="parTrans" cxnId="{F807E46A-EF4A-4DE9-A9C7-920B5489A196}">
      <dgm:prSet/>
      <dgm:spPr/>
      <dgm:t>
        <a:bodyPr/>
        <a:lstStyle/>
        <a:p>
          <a:endParaRPr lang="ru-RU" sz="1000"/>
        </a:p>
      </dgm:t>
    </dgm:pt>
    <dgm:pt modelId="{409C9091-E284-4AA7-957F-8FDB2AA1BA71}" type="sibTrans" cxnId="{F807E46A-EF4A-4DE9-A9C7-920B5489A196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CC24B5AD-38FD-49ED-9CDA-851F9D603E27}">
      <dgm:prSet phldrT="[Текст]" custT="1"/>
      <dgm:spPr>
        <a:solidFill>
          <a:srgbClr val="E18E8B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dirty="0">
              <a:solidFill>
                <a:srgbClr val="ECECEC"/>
              </a:solidFill>
            </a:rPr>
            <a:t>Нагорная канава пруда-накопителя</a:t>
          </a:r>
          <a:endParaRPr lang="ru-RU" sz="1000" baseline="30000" dirty="0">
            <a:solidFill>
              <a:srgbClr val="ECECEC"/>
            </a:solidFill>
          </a:endParaRPr>
        </a:p>
      </dgm:t>
    </dgm:pt>
    <dgm:pt modelId="{2E33DD4E-C18F-4AEA-B68F-2F17EFE004EB}" type="parTrans" cxnId="{0702252B-4C52-407A-8993-E99C738BE6EB}">
      <dgm:prSet/>
      <dgm:spPr/>
      <dgm:t>
        <a:bodyPr/>
        <a:lstStyle/>
        <a:p>
          <a:endParaRPr lang="ru-RU" sz="1000"/>
        </a:p>
      </dgm:t>
    </dgm:pt>
    <dgm:pt modelId="{A9DB221A-8C96-4DD2-8BCD-711E6A67314E}" type="sibTrans" cxnId="{0702252B-4C52-407A-8993-E99C738BE6EB}">
      <dgm:prSet custT="1"/>
      <dgm:spPr>
        <a:solidFill>
          <a:srgbClr val="14446C"/>
        </a:solidFill>
      </dgm:spPr>
      <dgm:t>
        <a:bodyPr/>
        <a:lstStyle/>
        <a:p>
          <a:endParaRPr lang="ru-RU" sz="1000"/>
        </a:p>
      </dgm:t>
    </dgm:pt>
    <dgm:pt modelId="{FCDB306A-0C78-474B-971F-6F098F577261}">
      <dgm:prSet phldrT="[Текст]" custT="1"/>
      <dgm:spPr>
        <a:solidFill>
          <a:srgbClr val="E18E8B"/>
        </a:solidFill>
        <a:ln>
          <a:solidFill>
            <a:srgbClr val="236CB0"/>
          </a:solidFill>
        </a:ln>
      </dgm:spPr>
      <dgm:t>
        <a:bodyPr/>
        <a:lstStyle/>
        <a:p>
          <a:r>
            <a:rPr lang="ru-RU" sz="1000" kern="1200" dirty="0">
              <a:solidFill>
                <a:srgbClr val="ECECEC"/>
              </a:solidFill>
              <a:latin typeface="Arial"/>
              <a:ea typeface="Batang"/>
              <a:cs typeface="Arial"/>
            </a:rPr>
            <a:t>Промышленный канал</a:t>
          </a:r>
        </a:p>
      </dgm:t>
    </dgm:pt>
    <dgm:pt modelId="{F7250D7B-B482-4CB2-85E0-E3CC48DD67F3}" type="parTrans" cxnId="{774EA527-FC90-44C3-A83F-ABA75D42E8B9}">
      <dgm:prSet/>
      <dgm:spPr/>
      <dgm:t>
        <a:bodyPr/>
        <a:lstStyle/>
        <a:p>
          <a:endParaRPr lang="ru-RU" sz="1000"/>
        </a:p>
      </dgm:t>
    </dgm:pt>
    <dgm:pt modelId="{29B047A6-7592-4B9C-AAC9-A24F1E9FD5F7}" type="sibTrans" cxnId="{774EA527-FC90-44C3-A83F-ABA75D42E8B9}">
      <dgm:prSet/>
      <dgm:spPr/>
      <dgm:t>
        <a:bodyPr/>
        <a:lstStyle/>
        <a:p>
          <a:endParaRPr lang="ru-RU" sz="1000"/>
        </a:p>
      </dgm:t>
    </dgm:pt>
    <dgm:pt modelId="{9CD8C831-BB89-4F55-9C9C-BCB586B0D70F}" type="pres">
      <dgm:prSet presAssocID="{E8258F3C-51ED-4C38-A84C-5551A2C6563F}" presName="Name0" presStyleCnt="0">
        <dgm:presLayoutVars>
          <dgm:dir/>
          <dgm:resizeHandles val="exact"/>
        </dgm:presLayoutVars>
      </dgm:prSet>
      <dgm:spPr/>
    </dgm:pt>
    <dgm:pt modelId="{9DF40A7C-B21F-4DD1-A459-DA5EF6921F13}" type="pres">
      <dgm:prSet presAssocID="{96186789-22CE-4AE3-A90C-04991492EE14}" presName="node" presStyleLbl="node1" presStyleIdx="0" presStyleCnt="4">
        <dgm:presLayoutVars>
          <dgm:bulletEnabled val="1"/>
        </dgm:presLayoutVars>
      </dgm:prSet>
      <dgm:spPr/>
    </dgm:pt>
    <dgm:pt modelId="{9B4A7332-8CF7-4B90-B119-0463B294D4C8}" type="pres">
      <dgm:prSet presAssocID="{D7D5F1DA-6E83-49FC-9339-CAB6F785B66E}" presName="sibTrans" presStyleLbl="sibTrans2D1" presStyleIdx="0" presStyleCnt="3"/>
      <dgm:spPr/>
    </dgm:pt>
    <dgm:pt modelId="{D5401C49-0D56-459E-8EB4-125C42DF7577}" type="pres">
      <dgm:prSet presAssocID="{D7D5F1DA-6E83-49FC-9339-CAB6F785B66E}" presName="connectorText" presStyleLbl="sibTrans2D1" presStyleIdx="0" presStyleCnt="3"/>
      <dgm:spPr/>
    </dgm:pt>
    <dgm:pt modelId="{700E8CB0-BD36-40E1-940A-39500A895B24}" type="pres">
      <dgm:prSet presAssocID="{95AF0EEA-7933-4740-B05F-FA29A4094838}" presName="node" presStyleLbl="node1" presStyleIdx="1" presStyleCnt="4">
        <dgm:presLayoutVars>
          <dgm:bulletEnabled val="1"/>
        </dgm:presLayoutVars>
      </dgm:prSet>
      <dgm:spPr/>
    </dgm:pt>
    <dgm:pt modelId="{E5603D4A-D27D-4754-9A63-21964F0A801E}" type="pres">
      <dgm:prSet presAssocID="{409C9091-E284-4AA7-957F-8FDB2AA1BA71}" presName="sibTrans" presStyleLbl="sibTrans2D1" presStyleIdx="1" presStyleCnt="3"/>
      <dgm:spPr/>
    </dgm:pt>
    <dgm:pt modelId="{9E53689C-7D4C-4C1B-B1E0-81DDAEBDEE24}" type="pres">
      <dgm:prSet presAssocID="{409C9091-E284-4AA7-957F-8FDB2AA1BA71}" presName="connectorText" presStyleLbl="sibTrans2D1" presStyleIdx="1" presStyleCnt="3"/>
      <dgm:spPr/>
    </dgm:pt>
    <dgm:pt modelId="{51134FD8-EAE1-4129-9B0E-0B729FC58701}" type="pres">
      <dgm:prSet presAssocID="{CC24B5AD-38FD-49ED-9CDA-851F9D603E27}" presName="node" presStyleLbl="node1" presStyleIdx="2" presStyleCnt="4">
        <dgm:presLayoutVars>
          <dgm:bulletEnabled val="1"/>
        </dgm:presLayoutVars>
      </dgm:prSet>
      <dgm:spPr/>
    </dgm:pt>
    <dgm:pt modelId="{E0F4450C-C22E-4BC3-8B42-58A30834F9E1}" type="pres">
      <dgm:prSet presAssocID="{A9DB221A-8C96-4DD2-8BCD-711E6A67314E}" presName="sibTrans" presStyleLbl="sibTrans2D1" presStyleIdx="2" presStyleCnt="3"/>
      <dgm:spPr/>
    </dgm:pt>
    <dgm:pt modelId="{1DB557C3-CD6D-47C2-8C50-CB500BB735BB}" type="pres">
      <dgm:prSet presAssocID="{A9DB221A-8C96-4DD2-8BCD-711E6A67314E}" presName="connectorText" presStyleLbl="sibTrans2D1" presStyleIdx="2" presStyleCnt="3"/>
      <dgm:spPr/>
    </dgm:pt>
    <dgm:pt modelId="{30F8A158-3858-404F-A974-01812E7485CF}" type="pres">
      <dgm:prSet presAssocID="{FCDB306A-0C78-474B-971F-6F098F577261}" presName="node" presStyleLbl="node1" presStyleIdx="3" presStyleCnt="4">
        <dgm:presLayoutVars>
          <dgm:bulletEnabled val="1"/>
        </dgm:presLayoutVars>
      </dgm:prSet>
      <dgm:spPr/>
    </dgm:pt>
  </dgm:ptLst>
  <dgm:cxnLst>
    <dgm:cxn modelId="{EE580E02-5692-4184-AEC6-C469D6BB4F7B}" type="presOf" srcId="{A9DB221A-8C96-4DD2-8BCD-711E6A67314E}" destId="{1DB557C3-CD6D-47C2-8C50-CB500BB735BB}" srcOrd="1" destOrd="0" presId="urn:microsoft.com/office/officeart/2005/8/layout/process1"/>
    <dgm:cxn modelId="{0336A506-6854-4F30-BAE4-580775F712F0}" type="presOf" srcId="{FCDB306A-0C78-474B-971F-6F098F577261}" destId="{30F8A158-3858-404F-A974-01812E7485CF}" srcOrd="0" destOrd="0" presId="urn:microsoft.com/office/officeart/2005/8/layout/process1"/>
    <dgm:cxn modelId="{FE201F0C-7429-4B08-8F0B-F6722F452979}" type="presOf" srcId="{A9DB221A-8C96-4DD2-8BCD-711E6A67314E}" destId="{E0F4450C-C22E-4BC3-8B42-58A30834F9E1}" srcOrd="0" destOrd="0" presId="urn:microsoft.com/office/officeart/2005/8/layout/process1"/>
    <dgm:cxn modelId="{C3F51113-1568-403B-9A25-F9DD2DCF5915}" type="presOf" srcId="{E8258F3C-51ED-4C38-A84C-5551A2C6563F}" destId="{9CD8C831-BB89-4F55-9C9C-BCB586B0D70F}" srcOrd="0" destOrd="0" presId="urn:microsoft.com/office/officeart/2005/8/layout/process1"/>
    <dgm:cxn modelId="{774EA527-FC90-44C3-A83F-ABA75D42E8B9}" srcId="{E8258F3C-51ED-4C38-A84C-5551A2C6563F}" destId="{FCDB306A-0C78-474B-971F-6F098F577261}" srcOrd="3" destOrd="0" parTransId="{F7250D7B-B482-4CB2-85E0-E3CC48DD67F3}" sibTransId="{29B047A6-7592-4B9C-AAC9-A24F1E9FD5F7}"/>
    <dgm:cxn modelId="{0702252B-4C52-407A-8993-E99C738BE6EB}" srcId="{E8258F3C-51ED-4C38-A84C-5551A2C6563F}" destId="{CC24B5AD-38FD-49ED-9CDA-851F9D603E27}" srcOrd="2" destOrd="0" parTransId="{2E33DD4E-C18F-4AEA-B68F-2F17EFE004EB}" sibTransId="{A9DB221A-8C96-4DD2-8BCD-711E6A67314E}"/>
    <dgm:cxn modelId="{95D85669-084E-4D87-A240-B45C50689DF4}" type="presOf" srcId="{96186789-22CE-4AE3-A90C-04991492EE14}" destId="{9DF40A7C-B21F-4DD1-A459-DA5EF6921F13}" srcOrd="0" destOrd="0" presId="urn:microsoft.com/office/officeart/2005/8/layout/process1"/>
    <dgm:cxn modelId="{F807E46A-EF4A-4DE9-A9C7-920B5489A196}" srcId="{E8258F3C-51ED-4C38-A84C-5551A2C6563F}" destId="{95AF0EEA-7933-4740-B05F-FA29A4094838}" srcOrd="1" destOrd="0" parTransId="{0E50BA1D-6431-4532-A2D8-B1EC68817D42}" sibTransId="{409C9091-E284-4AA7-957F-8FDB2AA1BA71}"/>
    <dgm:cxn modelId="{C248E370-E9C3-4EBB-AD1C-15E6B7C38F6F}" type="presOf" srcId="{D7D5F1DA-6E83-49FC-9339-CAB6F785B66E}" destId="{9B4A7332-8CF7-4B90-B119-0463B294D4C8}" srcOrd="0" destOrd="0" presId="urn:microsoft.com/office/officeart/2005/8/layout/process1"/>
    <dgm:cxn modelId="{B7631F71-AA24-4CDF-B600-29FEC3F88740}" type="presOf" srcId="{409C9091-E284-4AA7-957F-8FDB2AA1BA71}" destId="{E5603D4A-D27D-4754-9A63-21964F0A801E}" srcOrd="0" destOrd="0" presId="urn:microsoft.com/office/officeart/2005/8/layout/process1"/>
    <dgm:cxn modelId="{D004688F-E325-4561-A16C-A0AB451C56A3}" type="presOf" srcId="{95AF0EEA-7933-4740-B05F-FA29A4094838}" destId="{700E8CB0-BD36-40E1-940A-39500A895B24}" srcOrd="0" destOrd="0" presId="urn:microsoft.com/office/officeart/2005/8/layout/process1"/>
    <dgm:cxn modelId="{4F2687A7-76D5-4508-8156-242437CE1E88}" type="presOf" srcId="{409C9091-E284-4AA7-957F-8FDB2AA1BA71}" destId="{9E53689C-7D4C-4C1B-B1E0-81DDAEBDEE24}" srcOrd="1" destOrd="0" presId="urn:microsoft.com/office/officeart/2005/8/layout/process1"/>
    <dgm:cxn modelId="{1CB2E5AD-5D2F-4E4B-9FE3-46FB7F75F841}" type="presOf" srcId="{D7D5F1DA-6E83-49FC-9339-CAB6F785B66E}" destId="{D5401C49-0D56-459E-8EB4-125C42DF7577}" srcOrd="1" destOrd="0" presId="urn:microsoft.com/office/officeart/2005/8/layout/process1"/>
    <dgm:cxn modelId="{C7C74FD1-ED29-4F65-AFF7-ED69AC5E1427}" type="presOf" srcId="{CC24B5AD-38FD-49ED-9CDA-851F9D603E27}" destId="{51134FD8-EAE1-4129-9B0E-0B729FC58701}" srcOrd="0" destOrd="0" presId="urn:microsoft.com/office/officeart/2005/8/layout/process1"/>
    <dgm:cxn modelId="{ACFAFFE8-DEC4-4228-8616-EACEB647845B}" srcId="{E8258F3C-51ED-4C38-A84C-5551A2C6563F}" destId="{96186789-22CE-4AE3-A90C-04991492EE14}" srcOrd="0" destOrd="0" parTransId="{340277B6-5272-4CE2-B461-0469BF508B97}" sibTransId="{D7D5F1DA-6E83-49FC-9339-CAB6F785B66E}"/>
    <dgm:cxn modelId="{28E379AA-7FF1-4631-A1D3-D53E92684A30}" type="presParOf" srcId="{9CD8C831-BB89-4F55-9C9C-BCB586B0D70F}" destId="{9DF40A7C-B21F-4DD1-A459-DA5EF6921F13}" srcOrd="0" destOrd="0" presId="urn:microsoft.com/office/officeart/2005/8/layout/process1"/>
    <dgm:cxn modelId="{384145FD-ED35-446B-9687-A1A9DB312792}" type="presParOf" srcId="{9CD8C831-BB89-4F55-9C9C-BCB586B0D70F}" destId="{9B4A7332-8CF7-4B90-B119-0463B294D4C8}" srcOrd="1" destOrd="0" presId="urn:microsoft.com/office/officeart/2005/8/layout/process1"/>
    <dgm:cxn modelId="{E5011842-F410-45E2-9B16-100C82888CF0}" type="presParOf" srcId="{9B4A7332-8CF7-4B90-B119-0463B294D4C8}" destId="{D5401C49-0D56-459E-8EB4-125C42DF7577}" srcOrd="0" destOrd="0" presId="urn:microsoft.com/office/officeart/2005/8/layout/process1"/>
    <dgm:cxn modelId="{AC227ADE-906B-4562-8D64-80302D06E9E6}" type="presParOf" srcId="{9CD8C831-BB89-4F55-9C9C-BCB586B0D70F}" destId="{700E8CB0-BD36-40E1-940A-39500A895B24}" srcOrd="2" destOrd="0" presId="urn:microsoft.com/office/officeart/2005/8/layout/process1"/>
    <dgm:cxn modelId="{EE007975-4224-4B3B-8B26-BE6C2130E646}" type="presParOf" srcId="{9CD8C831-BB89-4F55-9C9C-BCB586B0D70F}" destId="{E5603D4A-D27D-4754-9A63-21964F0A801E}" srcOrd="3" destOrd="0" presId="urn:microsoft.com/office/officeart/2005/8/layout/process1"/>
    <dgm:cxn modelId="{7BFD1638-7807-40E5-8A1A-8316235D6739}" type="presParOf" srcId="{E5603D4A-D27D-4754-9A63-21964F0A801E}" destId="{9E53689C-7D4C-4C1B-B1E0-81DDAEBDEE24}" srcOrd="0" destOrd="0" presId="urn:microsoft.com/office/officeart/2005/8/layout/process1"/>
    <dgm:cxn modelId="{6E2E6E0A-8EEC-4E95-B7BC-4797B04813BA}" type="presParOf" srcId="{9CD8C831-BB89-4F55-9C9C-BCB586B0D70F}" destId="{51134FD8-EAE1-4129-9B0E-0B729FC58701}" srcOrd="4" destOrd="0" presId="urn:microsoft.com/office/officeart/2005/8/layout/process1"/>
    <dgm:cxn modelId="{B9541283-668A-4F01-85E1-CE6A88AF4358}" type="presParOf" srcId="{9CD8C831-BB89-4F55-9C9C-BCB586B0D70F}" destId="{E0F4450C-C22E-4BC3-8B42-58A30834F9E1}" srcOrd="5" destOrd="0" presId="urn:microsoft.com/office/officeart/2005/8/layout/process1"/>
    <dgm:cxn modelId="{70D880EA-544D-48E2-9B60-6878CA68AFDB}" type="presParOf" srcId="{E0F4450C-C22E-4BC3-8B42-58A30834F9E1}" destId="{1DB557C3-CD6D-47C2-8C50-CB500BB735BB}" srcOrd="0" destOrd="0" presId="urn:microsoft.com/office/officeart/2005/8/layout/process1"/>
    <dgm:cxn modelId="{25B8DCB7-3088-42CC-A509-8F468D64BC50}" type="presParOf" srcId="{9CD8C831-BB89-4F55-9C9C-BCB586B0D70F}" destId="{30F8A158-3858-404F-A974-01812E7485CF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C8E3E3-303A-4273-960A-75DD5FC76F19}">
      <dsp:nvSpPr>
        <dsp:cNvPr id="0" name=""/>
        <dsp:cNvSpPr/>
      </dsp:nvSpPr>
      <dsp:spPr>
        <a:xfrm>
          <a:off x="38067" y="209966"/>
          <a:ext cx="6197417" cy="517164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14446C"/>
              </a:solidFill>
            </a:rPr>
            <a:t>Организатор общественного обсуждения</a:t>
          </a:r>
          <a:endParaRPr lang="ru-RU" sz="2000" kern="1200" dirty="0">
            <a:solidFill>
              <a:srgbClr val="14446C"/>
            </a:solidFill>
          </a:endParaRPr>
        </a:p>
      </dsp:txBody>
      <dsp:txXfrm>
        <a:off x="63313" y="235212"/>
        <a:ext cx="6146925" cy="466672"/>
      </dsp:txXfrm>
    </dsp:sp>
    <dsp:sp modelId="{DCE3F596-3957-476C-AC09-0DD9167B0C25}">
      <dsp:nvSpPr>
        <dsp:cNvPr id="0" name=""/>
        <dsp:cNvSpPr/>
      </dsp:nvSpPr>
      <dsp:spPr>
        <a:xfrm>
          <a:off x="0" y="755100"/>
          <a:ext cx="7189329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261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1" kern="1200" dirty="0"/>
            <a:t>Администрация города Березники </a:t>
          </a:r>
          <a:endParaRPr lang="ru-RU" sz="12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юридический/фактический адрес: 618417, Пермский край, г. Березники,  Советская площадь, д. 1, 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тел. (3424) 26-21-15, факс (3424) 26-44-62, 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е-</a:t>
          </a:r>
          <a:r>
            <a:rPr lang="ru-RU" sz="1100" b="0" kern="1200" dirty="0" err="1"/>
            <a:t>mail</a:t>
          </a:r>
          <a:r>
            <a:rPr lang="ru-RU" sz="1100" b="0" kern="1200" dirty="0"/>
            <a:t>:  </a:t>
          </a:r>
          <a:r>
            <a:rPr lang="ru-RU" sz="1100" b="0" kern="1200" dirty="0">
              <a:hlinkClick xmlns:r="http://schemas.openxmlformats.org/officeDocument/2006/relationships" r:id="rId1"/>
            </a:rPr>
            <a:t>gorod@berezniki.perm.ru</a:t>
          </a:r>
          <a:endParaRPr lang="ru-RU" sz="1100" kern="1200" dirty="0"/>
        </a:p>
      </dsp:txBody>
      <dsp:txXfrm>
        <a:off x="0" y="755100"/>
        <a:ext cx="7189329" cy="1076400"/>
      </dsp:txXfrm>
    </dsp:sp>
    <dsp:sp modelId="{8BB1C655-D101-4680-914A-57FF5375242A}">
      <dsp:nvSpPr>
        <dsp:cNvPr id="0" name=""/>
        <dsp:cNvSpPr/>
      </dsp:nvSpPr>
      <dsp:spPr>
        <a:xfrm>
          <a:off x="28577" y="1633729"/>
          <a:ext cx="5399976" cy="548436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14446C"/>
              </a:solidFill>
            </a:rPr>
            <a:t>Инициатор (заказчик) </a:t>
          </a:r>
          <a:endParaRPr lang="ru-RU" sz="2000" kern="1200" dirty="0">
            <a:solidFill>
              <a:srgbClr val="14446C"/>
            </a:solidFill>
          </a:endParaRPr>
        </a:p>
      </dsp:txBody>
      <dsp:txXfrm>
        <a:off x="55349" y="1660501"/>
        <a:ext cx="5346432" cy="494892"/>
      </dsp:txXfrm>
    </dsp:sp>
    <dsp:sp modelId="{3278BE09-4483-4247-B4C8-0E4316392771}">
      <dsp:nvSpPr>
        <dsp:cNvPr id="0" name=""/>
        <dsp:cNvSpPr/>
      </dsp:nvSpPr>
      <dsp:spPr>
        <a:xfrm>
          <a:off x="0" y="2206359"/>
          <a:ext cx="7189329" cy="11773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261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1" kern="1200" dirty="0"/>
            <a:t>Филиал «Азот» АО «ОХК «УРАЛХИМ» в г. Березники</a:t>
          </a:r>
          <a:endParaRPr lang="ru-RU" sz="12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ИНН 7703647595 ОГРН 1077761874024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Юридический адрес: 123112, Россия, г. Москва, наб. Пресненская, д.6, строен. 2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Фактический адрес: 618401, Россия,  Пермский край, г. Березники, </a:t>
          </a:r>
          <a:r>
            <a:rPr lang="ru-RU" sz="1100" b="0" kern="1200" dirty="0" err="1"/>
            <a:t>Чуртанское</a:t>
          </a:r>
          <a:r>
            <a:rPr lang="ru-RU" sz="1100" b="0" kern="1200" dirty="0"/>
            <a:t> шоссе, 75, 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тел. (3424) 29-89-90, факс: (3424) 29-82-09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е-</a:t>
          </a:r>
          <a:r>
            <a:rPr lang="en-US" sz="1100" b="0" kern="1200" dirty="0"/>
            <a:t>mail: azot@uralchem.com</a:t>
          </a:r>
          <a:endParaRPr lang="ru-RU" sz="1100" kern="1200" dirty="0"/>
        </a:p>
      </dsp:txBody>
      <dsp:txXfrm>
        <a:off x="0" y="2206359"/>
        <a:ext cx="7189329" cy="1177312"/>
      </dsp:txXfrm>
    </dsp:sp>
    <dsp:sp modelId="{809DCDDE-C545-4B4A-BBA6-CF5626375780}">
      <dsp:nvSpPr>
        <dsp:cNvPr id="0" name=""/>
        <dsp:cNvSpPr/>
      </dsp:nvSpPr>
      <dsp:spPr>
        <a:xfrm>
          <a:off x="0" y="3482703"/>
          <a:ext cx="5399976" cy="548436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14446C"/>
              </a:solidFill>
            </a:rPr>
            <a:t>Исполнитель ОВОС</a:t>
          </a:r>
          <a:endParaRPr lang="ru-RU" sz="2000" kern="1200" dirty="0">
            <a:solidFill>
              <a:srgbClr val="14446C"/>
            </a:solidFill>
          </a:endParaRPr>
        </a:p>
      </dsp:txBody>
      <dsp:txXfrm>
        <a:off x="26772" y="3509475"/>
        <a:ext cx="5346432" cy="494892"/>
      </dsp:txXfrm>
    </dsp:sp>
    <dsp:sp modelId="{99CBC4FF-C0E8-4935-93F9-5DE0008D1735}">
      <dsp:nvSpPr>
        <dsp:cNvPr id="0" name=""/>
        <dsp:cNvSpPr/>
      </dsp:nvSpPr>
      <dsp:spPr>
        <a:xfrm>
          <a:off x="0" y="4067854"/>
          <a:ext cx="7189329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261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1" kern="1200" dirty="0"/>
            <a:t>ООО «</a:t>
          </a:r>
          <a:r>
            <a:rPr lang="ru-RU" sz="1200" b="1" kern="1200" dirty="0" err="1"/>
            <a:t>Кайрос</a:t>
          </a:r>
          <a:r>
            <a:rPr lang="ru-RU" sz="1200" b="1" kern="1200" dirty="0"/>
            <a:t>-Инжиниринг» (г. Пермь)</a:t>
          </a:r>
          <a:r>
            <a:rPr lang="en-US" sz="1200" b="1" kern="1200" dirty="0"/>
            <a:t> </a:t>
          </a:r>
          <a:endParaRPr lang="ru-RU" sz="12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ИНН 5902179267 ОГРН 1115902009508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г. Пермь, ул. Максима Горького, 34, оф. 201</a:t>
          </a:r>
          <a:r>
            <a:rPr lang="en-US" sz="1100" b="0" kern="1200" dirty="0"/>
            <a:t>/3</a:t>
          </a:r>
          <a:r>
            <a:rPr lang="ru-RU" sz="1100" b="0" kern="1200" dirty="0"/>
            <a:t> 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тел.</a:t>
          </a:r>
          <a:r>
            <a:rPr lang="en-US" sz="1100" b="0" kern="1200" dirty="0"/>
            <a:t> 8 (342) 299-99-41</a:t>
          </a:r>
          <a:endParaRPr lang="ru-RU" sz="1100" kern="1200" dirty="0"/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en-US" sz="1100" b="0" kern="1200" dirty="0"/>
            <a:t>e-mail</a:t>
          </a:r>
          <a:r>
            <a:rPr lang="ru-RU" sz="1100" b="0" kern="1200" dirty="0"/>
            <a:t>:</a:t>
          </a:r>
          <a:r>
            <a:rPr lang="en-US" sz="1100" b="0" kern="1200" dirty="0"/>
            <a:t> perm@kairoseng.ru</a:t>
          </a:r>
          <a:endParaRPr lang="ru-RU" sz="1100" kern="1200" dirty="0"/>
        </a:p>
      </dsp:txBody>
      <dsp:txXfrm>
        <a:off x="0" y="4067854"/>
        <a:ext cx="7189329" cy="10764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F40A7C-B21F-4DD1-A459-DA5EF6921F13}">
      <dsp:nvSpPr>
        <dsp:cNvPr id="0" name=""/>
        <dsp:cNvSpPr/>
      </dsp:nvSpPr>
      <dsp:spPr>
        <a:xfrm>
          <a:off x="4283" y="0"/>
          <a:ext cx="886703" cy="1032230"/>
        </a:xfrm>
        <a:prstGeom prst="roundRect">
          <a:avLst>
            <a:gd name="adj" fmla="val 10000"/>
          </a:avLst>
        </a:prstGeom>
        <a:solidFill>
          <a:srgbClr val="F8CDA2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4095DC"/>
              </a:solidFill>
            </a:rPr>
            <a:t>Сбор дождевых и талых вод с территории подъездной автодороги</a:t>
          </a:r>
        </a:p>
      </dsp:txBody>
      <dsp:txXfrm>
        <a:off x="30254" y="25971"/>
        <a:ext cx="834761" cy="980288"/>
      </dsp:txXfrm>
    </dsp:sp>
    <dsp:sp modelId="{9B4A7332-8CF7-4B90-B119-0463B294D4C8}">
      <dsp:nvSpPr>
        <dsp:cNvPr id="0" name=""/>
        <dsp:cNvSpPr/>
      </dsp:nvSpPr>
      <dsp:spPr>
        <a:xfrm>
          <a:off x="979657" y="406163"/>
          <a:ext cx="187981" cy="219902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979657" y="450143"/>
        <a:ext cx="131587" cy="131942"/>
      </dsp:txXfrm>
    </dsp:sp>
    <dsp:sp modelId="{700E8CB0-BD36-40E1-940A-39500A895B24}">
      <dsp:nvSpPr>
        <dsp:cNvPr id="0" name=""/>
        <dsp:cNvSpPr/>
      </dsp:nvSpPr>
      <dsp:spPr>
        <a:xfrm>
          <a:off x="1245668" y="0"/>
          <a:ext cx="886703" cy="1032230"/>
        </a:xfrm>
        <a:prstGeom prst="roundRect">
          <a:avLst>
            <a:gd name="adj" fmla="val 10000"/>
          </a:avLst>
        </a:prstGeom>
        <a:solidFill>
          <a:srgbClr val="F8CDA2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4095DC"/>
              </a:solidFill>
            </a:rPr>
            <a:t>Фильтр-патроны вдоль проезда 2 шт.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4095DC"/>
              </a:solidFill>
            </a:rPr>
            <a:t>ФПКУ 1420x1800 </a:t>
          </a:r>
          <a:endParaRPr lang="ru-RU" sz="1000" b="1" kern="1200" dirty="0">
            <a:solidFill>
              <a:srgbClr val="4095DC"/>
            </a:solidFill>
          </a:endParaRPr>
        </a:p>
      </dsp:txBody>
      <dsp:txXfrm>
        <a:off x="1271639" y="25971"/>
        <a:ext cx="834761" cy="980288"/>
      </dsp:txXfrm>
    </dsp:sp>
    <dsp:sp modelId="{E5603D4A-D27D-4754-9A63-21964F0A801E}">
      <dsp:nvSpPr>
        <dsp:cNvPr id="0" name=""/>
        <dsp:cNvSpPr/>
      </dsp:nvSpPr>
      <dsp:spPr>
        <a:xfrm>
          <a:off x="2221041" y="406163"/>
          <a:ext cx="187981" cy="219902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2221041" y="450143"/>
        <a:ext cx="131587" cy="131942"/>
      </dsp:txXfrm>
    </dsp:sp>
    <dsp:sp modelId="{51134FD8-EAE1-4129-9B0E-0B729FC58701}">
      <dsp:nvSpPr>
        <dsp:cNvPr id="0" name=""/>
        <dsp:cNvSpPr/>
      </dsp:nvSpPr>
      <dsp:spPr>
        <a:xfrm>
          <a:off x="2487052" y="0"/>
          <a:ext cx="886703" cy="1032230"/>
        </a:xfrm>
        <a:prstGeom prst="roundRect">
          <a:avLst>
            <a:gd name="adj" fmla="val 10000"/>
          </a:avLst>
        </a:prstGeom>
        <a:solidFill>
          <a:srgbClr val="F8CDA2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4095DC"/>
              </a:solidFill>
            </a:rPr>
            <a:t>Нагорная канава пруда-накопителя</a:t>
          </a:r>
          <a:endParaRPr lang="ru-RU" sz="1000" kern="1200" baseline="30000" dirty="0">
            <a:solidFill>
              <a:srgbClr val="4095DC"/>
            </a:solidFill>
          </a:endParaRPr>
        </a:p>
      </dsp:txBody>
      <dsp:txXfrm>
        <a:off x="2513023" y="25971"/>
        <a:ext cx="834761" cy="980288"/>
      </dsp:txXfrm>
    </dsp:sp>
    <dsp:sp modelId="{5381D2B4-20DD-467A-9C0C-434CF92F8DB4}">
      <dsp:nvSpPr>
        <dsp:cNvPr id="0" name=""/>
        <dsp:cNvSpPr/>
      </dsp:nvSpPr>
      <dsp:spPr>
        <a:xfrm>
          <a:off x="3462426" y="406163"/>
          <a:ext cx="187981" cy="219902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3462426" y="450143"/>
        <a:ext cx="131587" cy="131942"/>
      </dsp:txXfrm>
    </dsp:sp>
    <dsp:sp modelId="{7C2084DC-BA6A-422C-81E1-4686916E09A3}">
      <dsp:nvSpPr>
        <dsp:cNvPr id="0" name=""/>
        <dsp:cNvSpPr/>
      </dsp:nvSpPr>
      <dsp:spPr>
        <a:xfrm>
          <a:off x="3728437" y="0"/>
          <a:ext cx="886703" cy="1032230"/>
        </a:xfrm>
        <a:prstGeom prst="roundRect">
          <a:avLst>
            <a:gd name="adj" fmla="val 10000"/>
          </a:avLst>
        </a:prstGeom>
        <a:solidFill>
          <a:srgbClr val="F8CDA2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4095DC"/>
              </a:solidFill>
              <a:latin typeface="Arial"/>
              <a:ea typeface="Batang"/>
              <a:cs typeface="Arial"/>
            </a:rPr>
            <a:t>Промышленный канал</a:t>
          </a:r>
        </a:p>
      </dsp:txBody>
      <dsp:txXfrm>
        <a:off x="3754408" y="25971"/>
        <a:ext cx="834761" cy="98028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EC96F4-B5C9-4A9D-B834-831375E6CEEC}">
      <dsp:nvSpPr>
        <dsp:cNvPr id="0" name=""/>
        <dsp:cNvSpPr/>
      </dsp:nvSpPr>
      <dsp:spPr>
        <a:xfrm>
          <a:off x="0" y="449544"/>
          <a:ext cx="4619446" cy="619935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14446C"/>
              </a:solidFill>
            </a:rPr>
            <a:t>Трассы высоконапорных водоводов</a:t>
          </a:r>
        </a:p>
      </dsp:txBody>
      <dsp:txXfrm>
        <a:off x="30263" y="479807"/>
        <a:ext cx="4558920" cy="559409"/>
      </dsp:txXfrm>
    </dsp:sp>
    <dsp:sp modelId="{C581CBC5-9885-429B-BC77-3CD4C94F4BE3}">
      <dsp:nvSpPr>
        <dsp:cNvPr id="0" name=""/>
        <dsp:cNvSpPr/>
      </dsp:nvSpPr>
      <dsp:spPr>
        <a:xfrm>
          <a:off x="0" y="1141666"/>
          <a:ext cx="4619446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6667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kern="1200" dirty="0">
              <a:solidFill>
                <a:schemeClr val="accent4"/>
              </a:solidFill>
              <a:latin typeface="+mn-lt"/>
            </a:rPr>
            <a:t>подземный способ прокладки. Основной способ – метод горизонтально направленного бурения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kern="1200" dirty="0">
              <a:solidFill>
                <a:schemeClr val="accent4"/>
              </a:solidFill>
              <a:latin typeface="+mn-lt"/>
            </a:rPr>
            <a:t>площадь земель краткосрочного пользования -  </a:t>
          </a:r>
          <a:r>
            <a:rPr lang="ru-RU" sz="1200" b="1" kern="1200" dirty="0">
              <a:solidFill>
                <a:srgbClr val="236CB0"/>
              </a:solidFill>
              <a:latin typeface="+mn-lt"/>
            </a:rPr>
            <a:t>0,789963 га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kern="1200" dirty="0">
              <a:solidFill>
                <a:schemeClr val="accent4"/>
              </a:solidFill>
              <a:latin typeface="+mn-lt"/>
            </a:rPr>
            <a:t>площадь постоянного отвода </a:t>
          </a:r>
          <a:r>
            <a:rPr lang="ru-RU" sz="1200" b="1" kern="1200" dirty="0">
              <a:solidFill>
                <a:srgbClr val="236CB0"/>
              </a:solidFill>
              <a:latin typeface="+mn-lt"/>
            </a:rPr>
            <a:t>0,107863 га</a:t>
          </a:r>
        </a:p>
      </dsp:txBody>
      <dsp:txXfrm>
        <a:off x="0" y="1141666"/>
        <a:ext cx="4619446" cy="1076400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AD48AB-EFB1-4F7A-A38F-A23B7FA53541}">
      <dsp:nvSpPr>
        <dsp:cNvPr id="0" name=""/>
        <dsp:cNvSpPr/>
      </dsp:nvSpPr>
      <dsp:spPr>
        <a:xfrm>
          <a:off x="0" y="43263"/>
          <a:ext cx="9382176" cy="513650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just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b="0" kern="1200" dirty="0">
              <a:solidFill>
                <a:schemeClr val="tx1"/>
              </a:solidFill>
              <a:latin typeface="+mn-lt"/>
            </a:rPr>
            <a:t>Реализация намечаемой хозяйственной деятельности обеспечит технологический процесс отведения стоков филиала «Азот» АО «ОХК «УРАЛХИМ» в городе Березники</a:t>
          </a:r>
          <a:endParaRPr lang="ru-RU" sz="1300" kern="1200" dirty="0">
            <a:solidFill>
              <a:schemeClr val="tx1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1958583" y="43263"/>
        <a:ext cx="7423592" cy="513650"/>
      </dsp:txXfrm>
    </dsp:sp>
    <dsp:sp modelId="{D5BFB622-BC38-42A7-BE05-041DC3AA7307}">
      <dsp:nvSpPr>
        <dsp:cNvPr id="0" name=""/>
        <dsp:cNvSpPr/>
      </dsp:nvSpPr>
      <dsp:spPr>
        <a:xfrm>
          <a:off x="759241" y="0"/>
          <a:ext cx="540000" cy="600177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476E8C-4D47-4911-8D8D-4E6DE1F6504C}">
      <dsp:nvSpPr>
        <dsp:cNvPr id="0" name=""/>
        <dsp:cNvSpPr/>
      </dsp:nvSpPr>
      <dsp:spPr>
        <a:xfrm>
          <a:off x="0" y="682326"/>
          <a:ext cx="9382176" cy="821486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just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Исследуемая территория по устойчивости относительно карстовых деформаций относится к категории VI (устойчивые территории, образование карстовых деформаций исключается). По интенсивности образования карстовых деформаций: практически неопасная</a:t>
          </a:r>
        </a:p>
      </dsp:txBody>
      <dsp:txXfrm>
        <a:off x="1958583" y="682326"/>
        <a:ext cx="7423592" cy="821486"/>
      </dsp:txXfrm>
    </dsp:sp>
    <dsp:sp modelId="{795F376C-66C7-48C4-AE3B-37E00A659F66}">
      <dsp:nvSpPr>
        <dsp:cNvPr id="0" name=""/>
        <dsp:cNvSpPr/>
      </dsp:nvSpPr>
      <dsp:spPr>
        <a:xfrm>
          <a:off x="750365" y="785311"/>
          <a:ext cx="540000" cy="615516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87D56F-71C1-4884-9597-666BED5DDEF5}">
      <dsp:nvSpPr>
        <dsp:cNvPr id="0" name=""/>
        <dsp:cNvSpPr/>
      </dsp:nvSpPr>
      <dsp:spPr>
        <a:xfrm>
          <a:off x="0" y="1593322"/>
          <a:ext cx="9382176" cy="600793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just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chemeClr val="tx1"/>
              </a:solidFill>
              <a:uFill>
                <a:solidFill>
                  <a:srgbClr val="FA9D10"/>
                </a:solidFill>
              </a:u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Негативное воздействие на атмосферный воздух предполагается только  при строительстве. Продолжительность строительства – 10,0 мес.</a:t>
          </a:r>
          <a:endParaRPr lang="ru-RU" sz="1300" kern="1200" dirty="0">
            <a:solidFill>
              <a:schemeClr val="tx1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1958583" y="1593322"/>
        <a:ext cx="7423592" cy="600793"/>
      </dsp:txXfrm>
    </dsp:sp>
    <dsp:sp modelId="{609DE065-F963-41D4-911B-30F3C4E70BE6}">
      <dsp:nvSpPr>
        <dsp:cNvPr id="0" name=""/>
        <dsp:cNvSpPr/>
      </dsp:nvSpPr>
      <dsp:spPr>
        <a:xfrm>
          <a:off x="750365" y="1585960"/>
          <a:ext cx="540000" cy="615516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1000" r="-1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334AA4-01BD-4114-A7D4-AFD7F061EEB6}">
      <dsp:nvSpPr>
        <dsp:cNvPr id="0" name=""/>
        <dsp:cNvSpPr/>
      </dsp:nvSpPr>
      <dsp:spPr>
        <a:xfrm>
          <a:off x="0" y="2312402"/>
          <a:ext cx="9382176" cy="568320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just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руд-накопитель обеспечивает разбавление загрязняющих веществ поступающих с выпусков сточных вод до норм сброса, установленных для Филиала “Азот” к системе водоотведения ООО «Сток»</a:t>
          </a:r>
        </a:p>
      </dsp:txBody>
      <dsp:txXfrm>
        <a:off x="1958583" y="2312402"/>
        <a:ext cx="7423592" cy="568320"/>
      </dsp:txXfrm>
    </dsp:sp>
    <dsp:sp modelId="{78A51A7F-0332-48BD-863E-2071F210658E}">
      <dsp:nvSpPr>
        <dsp:cNvPr id="0" name=""/>
        <dsp:cNvSpPr/>
      </dsp:nvSpPr>
      <dsp:spPr>
        <a:xfrm>
          <a:off x="750365" y="2283625"/>
          <a:ext cx="540000" cy="62587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l="-2000" r="-2000"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81F73A-055C-4783-9BCA-718BA1673D9E}">
      <dsp:nvSpPr>
        <dsp:cNvPr id="0" name=""/>
        <dsp:cNvSpPr/>
      </dsp:nvSpPr>
      <dsp:spPr>
        <a:xfrm>
          <a:off x="0" y="2991648"/>
          <a:ext cx="9382176" cy="821486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just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kern="12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роектом предусмотрены технические решения для очистки образующихся сточных вод</a:t>
          </a:r>
        </a:p>
      </dsp:txBody>
      <dsp:txXfrm>
        <a:off x="1958583" y="2991648"/>
        <a:ext cx="7423592" cy="821486"/>
      </dsp:txXfrm>
    </dsp:sp>
    <dsp:sp modelId="{09C093C9-4070-4A77-9BA9-EC61D96E16B4}">
      <dsp:nvSpPr>
        <dsp:cNvPr id="0" name=""/>
        <dsp:cNvSpPr/>
      </dsp:nvSpPr>
      <dsp:spPr>
        <a:xfrm>
          <a:off x="750365" y="3094633"/>
          <a:ext cx="540000" cy="615516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BDFF64-5458-4FDC-85BE-5B5C57359D63}">
      <dsp:nvSpPr>
        <dsp:cNvPr id="0" name=""/>
        <dsp:cNvSpPr/>
      </dsp:nvSpPr>
      <dsp:spPr>
        <a:xfrm>
          <a:off x="0" y="3912695"/>
          <a:ext cx="9382176" cy="505172"/>
        </a:xfrm>
        <a:prstGeom prst="roundRect">
          <a:avLst>
            <a:gd name="adj" fmla="val 10000"/>
          </a:avLst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just" defTabSz="57785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300" b="1" kern="1200" dirty="0">
              <a:solidFill>
                <a:schemeClr val="tx1"/>
              </a:solidFill>
              <a:uFill>
                <a:solidFill>
                  <a:srgbClr val="FA9D10"/>
                </a:solidFill>
              </a:u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Воздействие на окружающую среду, предусмотренное проектом, с учетом проведения природоохранных мероприятий, является допустимым</a:t>
          </a:r>
          <a:endParaRPr lang="ru-RU" sz="1300" kern="1200" dirty="0">
            <a:solidFill>
              <a:schemeClr val="tx1"/>
            </a:solidFill>
            <a:latin typeface="+mn-lt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1958583" y="3912695"/>
        <a:ext cx="7423592" cy="505172"/>
      </dsp:txXfrm>
    </dsp:sp>
    <dsp:sp modelId="{25AC390D-591B-4834-97B1-1333BF695F32}">
      <dsp:nvSpPr>
        <dsp:cNvPr id="0" name=""/>
        <dsp:cNvSpPr/>
      </dsp:nvSpPr>
      <dsp:spPr>
        <a:xfrm>
          <a:off x="794762" y="3899060"/>
          <a:ext cx="540000" cy="539998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10472E-66B2-4523-8E48-0C72ACDC6C3E}">
      <dsp:nvSpPr>
        <dsp:cNvPr id="0" name=""/>
        <dsp:cNvSpPr/>
      </dsp:nvSpPr>
      <dsp:spPr>
        <a:xfrm>
          <a:off x="472395" y="560582"/>
          <a:ext cx="4360634" cy="575412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14446C"/>
              </a:solidFill>
            </a:rPr>
            <a:t>Площадка 1</a:t>
          </a:r>
        </a:p>
      </dsp:txBody>
      <dsp:txXfrm>
        <a:off x="500484" y="588671"/>
        <a:ext cx="4304456" cy="519234"/>
      </dsp:txXfrm>
    </dsp:sp>
    <dsp:sp modelId="{C2F14CEE-B158-411F-BF94-40AA52A8ABF7}">
      <dsp:nvSpPr>
        <dsp:cNvPr id="0" name=""/>
        <dsp:cNvSpPr/>
      </dsp:nvSpPr>
      <dsp:spPr>
        <a:xfrm>
          <a:off x="290896" y="1185762"/>
          <a:ext cx="5014528" cy="13455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8447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0" kern="1200" dirty="0">
              <a:solidFill>
                <a:schemeClr val="accent4"/>
              </a:solidFill>
            </a:rPr>
            <a:t>Трасса К3н от КНС-3 до пруда-накопителя, 1 линия 1620 м</a:t>
          </a:r>
          <a:endParaRPr lang="ru-RU" sz="1200" kern="1200" dirty="0">
            <a:solidFill>
              <a:schemeClr val="accent4"/>
            </a:solidFill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0" kern="1200" dirty="0">
              <a:solidFill>
                <a:schemeClr val="accent4"/>
              </a:solidFill>
            </a:rPr>
            <a:t>Трасса К3н от КНС-3 до пруда-накопителя, 2 линия 1625 м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0" kern="1200" dirty="0">
              <a:solidFill>
                <a:schemeClr val="accent4"/>
              </a:solidFill>
            </a:rPr>
            <a:t>Сухая камера задвижек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0" kern="1200" dirty="0">
              <a:solidFill>
                <a:schemeClr val="accent4"/>
              </a:solidFill>
            </a:rPr>
            <a:t>Водосборный приямок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0" kern="1200" dirty="0">
              <a:solidFill>
                <a:schemeClr val="accent4"/>
              </a:solidFill>
            </a:rPr>
            <a:t>Главная насосная станция ГНС-2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0" kern="1200" dirty="0">
              <a:solidFill>
                <a:schemeClr val="accent4"/>
              </a:solidFill>
            </a:rPr>
            <a:t>Трасса К3н от ГНС-2 до точки выпуска №5 433 м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b="0" kern="1200" dirty="0">
              <a:solidFill>
                <a:schemeClr val="accent4"/>
              </a:solidFill>
            </a:rPr>
            <a:t>Трасса К3н от ГНС-2 до точки выпуска №6 430 м</a:t>
          </a:r>
          <a:endParaRPr lang="ru-RU" sz="1200" kern="1200" dirty="0">
            <a:solidFill>
              <a:schemeClr val="accent4"/>
            </a:solidFill>
          </a:endParaRPr>
        </a:p>
      </dsp:txBody>
      <dsp:txXfrm>
        <a:off x="290896" y="1185762"/>
        <a:ext cx="5014528" cy="1345500"/>
      </dsp:txXfrm>
    </dsp:sp>
    <dsp:sp modelId="{FE0C03F4-EEF0-4C60-BF54-F6DB85A422FE}">
      <dsp:nvSpPr>
        <dsp:cNvPr id="0" name=""/>
        <dsp:cNvSpPr/>
      </dsp:nvSpPr>
      <dsp:spPr>
        <a:xfrm>
          <a:off x="450908" y="2896048"/>
          <a:ext cx="4360634" cy="575412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14446C"/>
              </a:solidFill>
            </a:rPr>
            <a:t>Площадка 2</a:t>
          </a:r>
        </a:p>
      </dsp:txBody>
      <dsp:txXfrm>
        <a:off x="478997" y="2924137"/>
        <a:ext cx="4304456" cy="519234"/>
      </dsp:txXfrm>
    </dsp:sp>
    <dsp:sp modelId="{4BE078EB-ED29-41D1-A7CB-299D63E8D71D}">
      <dsp:nvSpPr>
        <dsp:cNvPr id="0" name=""/>
        <dsp:cNvSpPr/>
      </dsp:nvSpPr>
      <dsp:spPr>
        <a:xfrm>
          <a:off x="244394" y="3526628"/>
          <a:ext cx="4970811" cy="10764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8447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200" kern="1200" dirty="0"/>
            <a:t>КНС-3</a:t>
          </a:r>
        </a:p>
      </dsp:txBody>
      <dsp:txXfrm>
        <a:off x="244394" y="3526628"/>
        <a:ext cx="4970811" cy="10764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D8FD1B-C3FA-49A9-8292-94333D928006}">
      <dsp:nvSpPr>
        <dsp:cNvPr id="0" name=""/>
        <dsp:cNvSpPr/>
      </dsp:nvSpPr>
      <dsp:spPr>
        <a:xfrm>
          <a:off x="3896" y="776593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14446C"/>
              </a:solidFill>
              <a:latin typeface="+mn-lt"/>
            </a:rPr>
            <a:t>Система производственной канализации филиала «Азот»</a:t>
          </a:r>
        </a:p>
      </dsp:txBody>
      <dsp:txXfrm>
        <a:off x="33831" y="806528"/>
        <a:ext cx="1643579" cy="962199"/>
      </dsp:txXfrm>
    </dsp:sp>
    <dsp:sp modelId="{6B557495-94AF-43B2-A3F3-407C295073FC}">
      <dsp:nvSpPr>
        <dsp:cNvPr id="0" name=""/>
        <dsp:cNvSpPr/>
      </dsp:nvSpPr>
      <dsp:spPr>
        <a:xfrm>
          <a:off x="1857249" y="1076400"/>
          <a:ext cx="361131" cy="422455"/>
        </a:xfrm>
        <a:prstGeom prst="rightArrow">
          <a:avLst>
            <a:gd name="adj1" fmla="val 60000"/>
            <a:gd name="adj2" fmla="val 50000"/>
          </a:avLst>
        </a:prstGeom>
        <a:solidFill>
          <a:srgbClr val="D60500"/>
        </a:solidFill>
        <a:ln>
          <a:solidFill>
            <a:srgbClr val="236CB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>
            <a:solidFill>
              <a:srgbClr val="14446C"/>
            </a:solidFill>
          </a:endParaRPr>
        </a:p>
      </dsp:txBody>
      <dsp:txXfrm>
        <a:off x="1857249" y="1160891"/>
        <a:ext cx="252792" cy="253473"/>
      </dsp:txXfrm>
    </dsp:sp>
    <dsp:sp modelId="{EAF7B32B-A913-4577-8725-7F59BF02CAAB}">
      <dsp:nvSpPr>
        <dsp:cNvPr id="0" name=""/>
        <dsp:cNvSpPr/>
      </dsp:nvSpPr>
      <dsp:spPr>
        <a:xfrm>
          <a:off x="2388725" y="776593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14446C"/>
              </a:solidFill>
              <a:latin typeface="+mn-lt"/>
            </a:rPr>
            <a:t>КНС-3 </a:t>
          </a:r>
          <a:r>
            <a:rPr lang="ru-RU" sz="1400" kern="1200" baseline="0" dirty="0">
              <a:solidFill>
                <a:srgbClr val="14446C"/>
              </a:solidFill>
              <a:latin typeface="+mn-lt"/>
            </a:rPr>
            <a:t>с приемным резервуаром </a:t>
          </a:r>
          <a:r>
            <a:rPr lang="ru-RU" sz="1400" kern="1200" dirty="0">
              <a:solidFill>
                <a:srgbClr val="14446C"/>
              </a:solidFill>
              <a:latin typeface="+mn-lt"/>
            </a:rPr>
            <a:t>600 м</a:t>
          </a:r>
          <a:r>
            <a:rPr lang="ru-RU" sz="1400" kern="1200" baseline="30000" dirty="0">
              <a:solidFill>
                <a:srgbClr val="14446C"/>
              </a:solidFill>
              <a:latin typeface="+mn-lt"/>
            </a:rPr>
            <a:t>3</a:t>
          </a:r>
          <a:r>
            <a:rPr lang="ru-RU" sz="1400" kern="1200" dirty="0">
              <a:solidFill>
                <a:srgbClr val="14446C"/>
              </a:solidFill>
              <a:latin typeface="+mn-lt"/>
            </a:rPr>
            <a:t>/час</a:t>
          </a:r>
        </a:p>
      </dsp:txBody>
      <dsp:txXfrm>
        <a:off x="2418660" y="806528"/>
        <a:ext cx="1643579" cy="962199"/>
      </dsp:txXfrm>
    </dsp:sp>
    <dsp:sp modelId="{A84C91A0-015C-470A-B797-35BE9587E453}">
      <dsp:nvSpPr>
        <dsp:cNvPr id="0" name=""/>
        <dsp:cNvSpPr/>
      </dsp:nvSpPr>
      <dsp:spPr>
        <a:xfrm>
          <a:off x="4242078" y="1076400"/>
          <a:ext cx="361131" cy="422455"/>
        </a:xfrm>
        <a:prstGeom prst="rightArrow">
          <a:avLst>
            <a:gd name="adj1" fmla="val 60000"/>
            <a:gd name="adj2" fmla="val 50000"/>
          </a:avLst>
        </a:prstGeom>
        <a:solidFill>
          <a:srgbClr val="D60500"/>
        </a:solidFill>
        <a:ln>
          <a:solidFill>
            <a:srgbClr val="236CB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>
            <a:solidFill>
              <a:srgbClr val="14446C"/>
            </a:solidFill>
          </a:endParaRPr>
        </a:p>
      </dsp:txBody>
      <dsp:txXfrm>
        <a:off x="4242078" y="1160891"/>
        <a:ext cx="252792" cy="253473"/>
      </dsp:txXfrm>
    </dsp:sp>
    <dsp:sp modelId="{B72A8CF4-F2DC-444D-8EBA-D642A101AF60}">
      <dsp:nvSpPr>
        <dsp:cNvPr id="0" name=""/>
        <dsp:cNvSpPr/>
      </dsp:nvSpPr>
      <dsp:spPr>
        <a:xfrm>
          <a:off x="4773554" y="776593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14446C"/>
              </a:solidFill>
              <a:latin typeface="+mn-lt"/>
            </a:rPr>
            <a:t>Трасса К3н от КНС-3 до пруда-накопителя,  две линии</a:t>
          </a:r>
        </a:p>
      </dsp:txBody>
      <dsp:txXfrm>
        <a:off x="4803489" y="806528"/>
        <a:ext cx="1643579" cy="962199"/>
      </dsp:txXfrm>
    </dsp:sp>
    <dsp:sp modelId="{A1C6E4F4-2D1B-4EF4-A023-F41270834C7B}">
      <dsp:nvSpPr>
        <dsp:cNvPr id="0" name=""/>
        <dsp:cNvSpPr/>
      </dsp:nvSpPr>
      <dsp:spPr>
        <a:xfrm>
          <a:off x="6626908" y="1076400"/>
          <a:ext cx="361131" cy="422455"/>
        </a:xfrm>
        <a:prstGeom prst="rightArrow">
          <a:avLst>
            <a:gd name="adj1" fmla="val 60000"/>
            <a:gd name="adj2" fmla="val 50000"/>
          </a:avLst>
        </a:prstGeom>
        <a:solidFill>
          <a:srgbClr val="D60500"/>
        </a:solidFill>
        <a:ln>
          <a:solidFill>
            <a:srgbClr val="236CB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>
            <a:solidFill>
              <a:srgbClr val="14446C"/>
            </a:solidFill>
          </a:endParaRPr>
        </a:p>
      </dsp:txBody>
      <dsp:txXfrm>
        <a:off x="6626908" y="1160891"/>
        <a:ext cx="252792" cy="253473"/>
      </dsp:txXfrm>
    </dsp:sp>
    <dsp:sp modelId="{60B49164-B45C-40BF-A75A-B84BA0FA0D7E}">
      <dsp:nvSpPr>
        <dsp:cNvPr id="0" name=""/>
        <dsp:cNvSpPr/>
      </dsp:nvSpPr>
      <dsp:spPr>
        <a:xfrm>
          <a:off x="7158384" y="776593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14446C"/>
              </a:solidFill>
              <a:latin typeface="+mn-lt"/>
            </a:rPr>
            <a:t>Сухая камера  задвижек</a:t>
          </a:r>
        </a:p>
      </dsp:txBody>
      <dsp:txXfrm>
        <a:off x="7188319" y="806528"/>
        <a:ext cx="1643579" cy="962199"/>
      </dsp:txXfrm>
    </dsp:sp>
    <dsp:sp modelId="{BDBA91CA-A288-43EF-97EE-74A29B4E3DB6}">
      <dsp:nvSpPr>
        <dsp:cNvPr id="0" name=""/>
        <dsp:cNvSpPr/>
      </dsp:nvSpPr>
      <dsp:spPr>
        <a:xfrm rot="5400000">
          <a:off x="7829543" y="1917904"/>
          <a:ext cx="361131" cy="422455"/>
        </a:xfrm>
        <a:prstGeom prst="rightArrow">
          <a:avLst>
            <a:gd name="adj1" fmla="val 60000"/>
            <a:gd name="adj2" fmla="val 50000"/>
          </a:avLst>
        </a:prstGeom>
        <a:solidFill>
          <a:srgbClr val="D60500"/>
        </a:solidFill>
        <a:ln>
          <a:solidFill>
            <a:srgbClr val="236CB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>
            <a:solidFill>
              <a:srgbClr val="14446C"/>
            </a:solidFill>
          </a:endParaRPr>
        </a:p>
      </dsp:txBody>
      <dsp:txXfrm rot="-5400000">
        <a:off x="7883373" y="1948566"/>
        <a:ext cx="253473" cy="252792"/>
      </dsp:txXfrm>
    </dsp:sp>
    <dsp:sp modelId="{BF848BA1-83D1-4356-90B6-48FC0FC679F1}">
      <dsp:nvSpPr>
        <dsp:cNvPr id="0" name=""/>
        <dsp:cNvSpPr/>
      </dsp:nvSpPr>
      <dsp:spPr>
        <a:xfrm>
          <a:off x="7158384" y="2480042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14446C"/>
              </a:solidFill>
              <a:latin typeface="+mn-lt"/>
            </a:rPr>
            <a:t>Пруд-накопитель </a:t>
          </a:r>
          <a:r>
            <a:rPr lang="en-US" sz="1400" kern="1200" dirty="0">
              <a:solidFill>
                <a:srgbClr val="14446C"/>
              </a:solidFill>
              <a:latin typeface="+mn-lt"/>
            </a:rPr>
            <a:t>V= 65000 </a:t>
          </a:r>
          <a:r>
            <a:rPr lang="ru-RU" sz="1400" kern="1200" dirty="0">
              <a:solidFill>
                <a:srgbClr val="14446C"/>
              </a:solidFill>
              <a:latin typeface="+mn-lt"/>
            </a:rPr>
            <a:t>м</a:t>
          </a:r>
          <a:r>
            <a:rPr lang="en-US" sz="1400" kern="1200" baseline="30000" dirty="0">
              <a:solidFill>
                <a:srgbClr val="14446C"/>
              </a:solidFill>
              <a:latin typeface="+mn-lt"/>
            </a:rPr>
            <a:t>3</a:t>
          </a:r>
          <a:endParaRPr lang="ru-RU" sz="1400" kern="1200" baseline="30000" dirty="0">
            <a:solidFill>
              <a:srgbClr val="14446C"/>
            </a:solidFill>
            <a:latin typeface="+mn-lt"/>
          </a:endParaRPr>
        </a:p>
      </dsp:txBody>
      <dsp:txXfrm>
        <a:off x="7188319" y="2509977"/>
        <a:ext cx="1643579" cy="962199"/>
      </dsp:txXfrm>
    </dsp:sp>
    <dsp:sp modelId="{E65EBE87-AA9F-4C8C-93CA-9E0511F31F59}">
      <dsp:nvSpPr>
        <dsp:cNvPr id="0" name=""/>
        <dsp:cNvSpPr/>
      </dsp:nvSpPr>
      <dsp:spPr>
        <a:xfrm rot="10800000">
          <a:off x="6647349" y="2779850"/>
          <a:ext cx="361131" cy="422455"/>
        </a:xfrm>
        <a:prstGeom prst="rightArrow">
          <a:avLst>
            <a:gd name="adj1" fmla="val 60000"/>
            <a:gd name="adj2" fmla="val 50000"/>
          </a:avLst>
        </a:prstGeom>
        <a:solidFill>
          <a:srgbClr val="D60500"/>
        </a:solidFill>
        <a:ln>
          <a:solidFill>
            <a:srgbClr val="236CB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>
            <a:solidFill>
              <a:srgbClr val="14446C"/>
            </a:solidFill>
          </a:endParaRPr>
        </a:p>
      </dsp:txBody>
      <dsp:txXfrm rot="10800000">
        <a:off x="6755688" y="2864341"/>
        <a:ext cx="252792" cy="253473"/>
      </dsp:txXfrm>
    </dsp:sp>
    <dsp:sp modelId="{24F2C041-BEB5-4EE6-BBE8-959AFF78DD7A}">
      <dsp:nvSpPr>
        <dsp:cNvPr id="0" name=""/>
        <dsp:cNvSpPr/>
      </dsp:nvSpPr>
      <dsp:spPr>
        <a:xfrm>
          <a:off x="4773554" y="2480042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baseline="0" dirty="0">
              <a:solidFill>
                <a:srgbClr val="14446C"/>
              </a:solidFill>
              <a:latin typeface="+mn-lt"/>
            </a:rPr>
            <a:t>Водосборный приямок</a:t>
          </a:r>
        </a:p>
      </dsp:txBody>
      <dsp:txXfrm>
        <a:off x="4803489" y="2509977"/>
        <a:ext cx="1643579" cy="962199"/>
      </dsp:txXfrm>
    </dsp:sp>
    <dsp:sp modelId="{6A6E44A2-C1D4-4269-A24D-2F1FC4C8B2C4}">
      <dsp:nvSpPr>
        <dsp:cNvPr id="0" name=""/>
        <dsp:cNvSpPr/>
      </dsp:nvSpPr>
      <dsp:spPr>
        <a:xfrm rot="10800000">
          <a:off x="4262520" y="2779850"/>
          <a:ext cx="361131" cy="422455"/>
        </a:xfrm>
        <a:prstGeom prst="rightArrow">
          <a:avLst>
            <a:gd name="adj1" fmla="val 60000"/>
            <a:gd name="adj2" fmla="val 50000"/>
          </a:avLst>
        </a:prstGeom>
        <a:solidFill>
          <a:srgbClr val="D60500"/>
        </a:solidFill>
        <a:ln>
          <a:solidFill>
            <a:srgbClr val="236CB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>
            <a:solidFill>
              <a:srgbClr val="14446C"/>
            </a:solidFill>
          </a:endParaRPr>
        </a:p>
      </dsp:txBody>
      <dsp:txXfrm rot="10800000">
        <a:off x="4370859" y="2864341"/>
        <a:ext cx="252792" cy="253473"/>
      </dsp:txXfrm>
    </dsp:sp>
    <dsp:sp modelId="{8799264A-5656-4726-B4BA-64AA6B519C1D}">
      <dsp:nvSpPr>
        <dsp:cNvPr id="0" name=""/>
        <dsp:cNvSpPr/>
      </dsp:nvSpPr>
      <dsp:spPr>
        <a:xfrm>
          <a:off x="2388725" y="2480042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14446C"/>
              </a:solidFill>
              <a:latin typeface="+mn-lt"/>
            </a:rPr>
            <a:t>ГНС-2               3000 м</a:t>
          </a:r>
          <a:r>
            <a:rPr lang="ru-RU" sz="1400" kern="1200" baseline="30000" dirty="0">
              <a:solidFill>
                <a:srgbClr val="14446C"/>
              </a:solidFill>
              <a:latin typeface="+mn-lt"/>
            </a:rPr>
            <a:t>3</a:t>
          </a:r>
          <a:r>
            <a:rPr lang="ru-RU" sz="1400" kern="1200" dirty="0">
              <a:solidFill>
                <a:srgbClr val="14446C"/>
              </a:solidFill>
              <a:latin typeface="+mn-lt"/>
            </a:rPr>
            <a:t>/час</a:t>
          </a:r>
        </a:p>
      </dsp:txBody>
      <dsp:txXfrm>
        <a:off x="2418660" y="2509977"/>
        <a:ext cx="1643579" cy="962199"/>
      </dsp:txXfrm>
    </dsp:sp>
    <dsp:sp modelId="{DE0985DD-60B5-4F42-BA7D-19CFBBDECE92}">
      <dsp:nvSpPr>
        <dsp:cNvPr id="0" name=""/>
        <dsp:cNvSpPr/>
      </dsp:nvSpPr>
      <dsp:spPr>
        <a:xfrm rot="10800000">
          <a:off x="1877690" y="2779850"/>
          <a:ext cx="361131" cy="422455"/>
        </a:xfrm>
        <a:prstGeom prst="rightArrow">
          <a:avLst>
            <a:gd name="adj1" fmla="val 60000"/>
            <a:gd name="adj2" fmla="val 50000"/>
          </a:avLst>
        </a:prstGeom>
        <a:solidFill>
          <a:srgbClr val="D60500"/>
        </a:solidFill>
        <a:ln>
          <a:solidFill>
            <a:srgbClr val="236CB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900" kern="1200">
            <a:solidFill>
              <a:srgbClr val="14446C"/>
            </a:solidFill>
          </a:endParaRPr>
        </a:p>
      </dsp:txBody>
      <dsp:txXfrm rot="10800000">
        <a:off x="1986029" y="2864341"/>
        <a:ext cx="252792" cy="253473"/>
      </dsp:txXfrm>
    </dsp:sp>
    <dsp:sp modelId="{F0155E85-33B9-46EF-A4E6-93FB70A5652B}">
      <dsp:nvSpPr>
        <dsp:cNvPr id="0" name=""/>
        <dsp:cNvSpPr/>
      </dsp:nvSpPr>
      <dsp:spPr>
        <a:xfrm>
          <a:off x="3896" y="2480042"/>
          <a:ext cx="1703449" cy="1022069"/>
        </a:xfrm>
        <a:prstGeom prst="roundRect">
          <a:avLst>
            <a:gd name="adj" fmla="val 10000"/>
          </a:avLst>
        </a:prstGeom>
        <a:solidFill>
          <a:srgbClr val="CCDDED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14446C"/>
              </a:solidFill>
              <a:latin typeface="+mn-lt"/>
            </a:rPr>
            <a:t>Трасса К3н от ГНС-2 до точки выпуска №5, №6, 2 линии</a:t>
          </a:r>
        </a:p>
      </dsp:txBody>
      <dsp:txXfrm>
        <a:off x="33831" y="2509977"/>
        <a:ext cx="1643579" cy="96219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55547A-C666-43BF-8937-813C9672734D}">
      <dsp:nvSpPr>
        <dsp:cNvPr id="0" name=""/>
        <dsp:cNvSpPr/>
      </dsp:nvSpPr>
      <dsp:spPr>
        <a:xfrm>
          <a:off x="0" y="2332"/>
          <a:ext cx="4814107" cy="291928"/>
        </a:xfrm>
        <a:prstGeom prst="round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just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>
              <a:solidFill>
                <a:srgbClr val="236CB0"/>
              </a:solidFill>
            </a:rPr>
            <a:t>Граница санитарно-защитной зона филиала «Азот» АО «ОХК «УРАЛХИМ» в городе Березники</a:t>
          </a:r>
        </a:p>
      </dsp:txBody>
      <dsp:txXfrm>
        <a:off x="14251" y="16583"/>
        <a:ext cx="4785605" cy="263426"/>
      </dsp:txXfrm>
    </dsp:sp>
    <dsp:sp modelId="{0E3DA781-8379-41D7-A1E7-6A328512B814}">
      <dsp:nvSpPr>
        <dsp:cNvPr id="0" name=""/>
        <dsp:cNvSpPr/>
      </dsp:nvSpPr>
      <dsp:spPr>
        <a:xfrm>
          <a:off x="0" y="294261"/>
          <a:ext cx="4814107" cy="142738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848" tIns="13970" rIns="78232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севера - 1000 м</a:t>
          </a:r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северо-востока - 1000 м</a:t>
          </a:r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востока - 1000 м</a:t>
          </a:r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юго-востока - 1000 м</a:t>
          </a:r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юга - 1000 м</a:t>
          </a:r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юго-запада - от 0 до 1000 м</a:t>
          </a:r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запада - от 0 м</a:t>
          </a:r>
        </a:p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с северо-запада - от 0 м</a:t>
          </a:r>
        </a:p>
      </dsp:txBody>
      <dsp:txXfrm>
        <a:off x="0" y="294261"/>
        <a:ext cx="4814107" cy="1427389"/>
      </dsp:txXfrm>
    </dsp:sp>
    <dsp:sp modelId="{54306FEB-5E21-4B94-B397-B8A61830D573}">
      <dsp:nvSpPr>
        <dsp:cNvPr id="0" name=""/>
        <dsp:cNvSpPr/>
      </dsp:nvSpPr>
      <dsp:spPr>
        <a:xfrm>
          <a:off x="0" y="1822964"/>
          <a:ext cx="4814107" cy="291928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>
              <a:solidFill>
                <a:srgbClr val="236CB0"/>
              </a:solidFill>
            </a:rPr>
            <a:t>Граница жилой застройки</a:t>
          </a:r>
        </a:p>
      </dsp:txBody>
      <dsp:txXfrm>
        <a:off x="14251" y="1837215"/>
        <a:ext cx="4785605" cy="263426"/>
      </dsp:txXfrm>
    </dsp:sp>
    <dsp:sp modelId="{1A4FAE9D-8F0D-47F4-B80E-38C2A8DBF8F5}">
      <dsp:nvSpPr>
        <dsp:cNvPr id="0" name=""/>
        <dsp:cNvSpPr/>
      </dsp:nvSpPr>
      <dsp:spPr>
        <a:xfrm>
          <a:off x="0" y="2013580"/>
          <a:ext cx="4814107" cy="1737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848" tIns="13970" rIns="78232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10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</a:rPr>
            <a:t>п. Чкалова, Трактовая, 10</a:t>
          </a:r>
        </a:p>
      </dsp:txBody>
      <dsp:txXfrm>
        <a:off x="0" y="2013580"/>
        <a:ext cx="4814107" cy="173728"/>
      </dsp:txXfrm>
    </dsp:sp>
    <dsp:sp modelId="{285D0F2F-D094-46E1-8231-086B04FEDFEE}">
      <dsp:nvSpPr>
        <dsp:cNvPr id="0" name=""/>
        <dsp:cNvSpPr/>
      </dsp:nvSpPr>
      <dsp:spPr>
        <a:xfrm>
          <a:off x="0" y="2187308"/>
          <a:ext cx="4814107" cy="291928"/>
        </a:xfrm>
        <a:prstGeom prst="round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>
              <a:solidFill>
                <a:srgbClr val="236CB0"/>
              </a:solidFill>
              <a:latin typeface="Arial"/>
              <a:ea typeface="Batang"/>
              <a:cs typeface="Arial"/>
            </a:rPr>
            <a:t>Водоохранная зона и прибрежная защитная полоса</a:t>
          </a:r>
        </a:p>
      </dsp:txBody>
      <dsp:txXfrm>
        <a:off x="14251" y="2201559"/>
        <a:ext cx="4785605" cy="263426"/>
      </dsp:txXfrm>
    </dsp:sp>
    <dsp:sp modelId="{61DCC99D-76EA-4A7B-87EA-EF8CFF8BF477}">
      <dsp:nvSpPr>
        <dsp:cNvPr id="0" name=""/>
        <dsp:cNvSpPr/>
      </dsp:nvSpPr>
      <dsp:spPr>
        <a:xfrm>
          <a:off x="0" y="2479237"/>
          <a:ext cx="4814107" cy="1596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848" tIns="13970" rIns="78232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/>
            <a:t>Камское водохранилище 200 м</a:t>
          </a:r>
        </a:p>
      </dsp:txBody>
      <dsp:txXfrm>
        <a:off x="0" y="2479237"/>
        <a:ext cx="4814107" cy="159642"/>
      </dsp:txXfrm>
    </dsp:sp>
    <dsp:sp modelId="{91E25D43-6669-4CB4-8C99-64035042B127}">
      <dsp:nvSpPr>
        <dsp:cNvPr id="0" name=""/>
        <dsp:cNvSpPr/>
      </dsp:nvSpPr>
      <dsp:spPr>
        <a:xfrm>
          <a:off x="0" y="2638880"/>
          <a:ext cx="4814107" cy="291928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kern="1200" dirty="0">
              <a:solidFill>
                <a:srgbClr val="236CB0"/>
              </a:solidFill>
            </a:rPr>
            <a:t>Зона залегания полезных ископаемых</a:t>
          </a:r>
        </a:p>
      </dsp:txBody>
      <dsp:txXfrm>
        <a:off x="14251" y="2653131"/>
        <a:ext cx="4785605" cy="263426"/>
      </dsp:txXfrm>
    </dsp:sp>
    <dsp:sp modelId="{EFCE2E81-C3BC-4ECA-86BA-503B5611A5FB}">
      <dsp:nvSpPr>
        <dsp:cNvPr id="0" name=""/>
        <dsp:cNvSpPr/>
      </dsp:nvSpPr>
      <dsp:spPr>
        <a:xfrm>
          <a:off x="0" y="2930809"/>
          <a:ext cx="4814107" cy="6949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848" tIns="13970" rIns="78232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b="0" kern="1200" dirty="0"/>
            <a:t>в недрах под земельным участком - Остальная площадь Верхнекамского месторождения калийно-магниевых солей. Участок расположен в пределах горного отвода ПАО «Уралкалий» (шахтное поле БКПРУ-1), лицензия ПЕМ 02544 ТЭ для добычи калийной магниевой и каменной солей</a:t>
          </a:r>
        </a:p>
      </dsp:txBody>
      <dsp:txXfrm>
        <a:off x="0" y="2930809"/>
        <a:ext cx="4814107" cy="694913"/>
      </dsp:txXfrm>
    </dsp:sp>
    <dsp:sp modelId="{13B2103E-8B31-43A4-8950-53DB8E4E9390}">
      <dsp:nvSpPr>
        <dsp:cNvPr id="0" name=""/>
        <dsp:cNvSpPr/>
      </dsp:nvSpPr>
      <dsp:spPr>
        <a:xfrm>
          <a:off x="0" y="3625722"/>
          <a:ext cx="4814107" cy="291928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accent1"/>
              </a:solidFill>
            </a:rPr>
            <a:t>Инженерно-геологические процессы</a:t>
          </a:r>
        </a:p>
      </dsp:txBody>
      <dsp:txXfrm>
        <a:off x="14251" y="3639973"/>
        <a:ext cx="4785605" cy="263426"/>
      </dsp:txXfrm>
    </dsp:sp>
    <dsp:sp modelId="{13CA5C89-5117-4F57-A551-0F1AF0D41FC2}">
      <dsp:nvSpPr>
        <dsp:cNvPr id="0" name=""/>
        <dsp:cNvSpPr/>
      </dsp:nvSpPr>
      <dsp:spPr>
        <a:xfrm>
          <a:off x="0" y="3917651"/>
          <a:ext cx="4814107" cy="69491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848" tIns="13970" rIns="78232" bIns="13970" numCol="1" spcCol="1270" anchor="t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ru-RU" sz="1100" kern="1200" dirty="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исследуемая территория по устойчивости относительно карстовых деформаций относится к категории VI (устойчивые территории, образование карстовых деформаций исключается). По интенсивности образования карстовых деформаций: практически неопасная</a:t>
          </a:r>
          <a:endParaRPr lang="ru-RU" sz="1100" b="0" kern="1200" dirty="0">
            <a:solidFill>
              <a:schemeClr val="tx1"/>
            </a:solidFill>
          </a:endParaRPr>
        </a:p>
      </dsp:txBody>
      <dsp:txXfrm>
        <a:off x="0" y="3917651"/>
        <a:ext cx="4814107" cy="69491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325CD8-0062-418E-91E7-C9548278B3BE}">
      <dsp:nvSpPr>
        <dsp:cNvPr id="0" name=""/>
        <dsp:cNvSpPr/>
      </dsp:nvSpPr>
      <dsp:spPr>
        <a:xfrm>
          <a:off x="0" y="0"/>
          <a:ext cx="4857750" cy="4351379"/>
        </a:xfrm>
        <a:prstGeom prst="roundRect">
          <a:avLst>
            <a:gd name="adj" fmla="val 10000"/>
          </a:avLst>
        </a:prstGeom>
        <a:noFill/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D6050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Источники выброса загрязняющих веществ на период строительства</a:t>
          </a:r>
        </a:p>
      </dsp:txBody>
      <dsp:txXfrm>
        <a:off x="0" y="0"/>
        <a:ext cx="4857750" cy="1305413"/>
      </dsp:txXfrm>
    </dsp:sp>
    <dsp:sp modelId="{F6AAE277-3422-4D1E-A280-5F2DD804F74F}">
      <dsp:nvSpPr>
        <dsp:cNvPr id="0" name=""/>
        <dsp:cNvSpPr/>
      </dsp:nvSpPr>
      <dsp:spPr>
        <a:xfrm>
          <a:off x="485774" y="1306688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Сварочные работы</a:t>
          </a:r>
        </a:p>
      </dsp:txBody>
      <dsp:txXfrm>
        <a:off x="493864" y="1314778"/>
        <a:ext cx="3870020" cy="260030"/>
      </dsp:txXfrm>
    </dsp:sp>
    <dsp:sp modelId="{745E0F17-5E1C-4627-B43D-42DD2CE371E2}">
      <dsp:nvSpPr>
        <dsp:cNvPr id="0" name=""/>
        <dsp:cNvSpPr/>
      </dsp:nvSpPr>
      <dsp:spPr>
        <a:xfrm>
          <a:off x="485774" y="1625393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окрасочные работы</a:t>
          </a:r>
        </a:p>
      </dsp:txBody>
      <dsp:txXfrm>
        <a:off x="493864" y="1633483"/>
        <a:ext cx="3870020" cy="260030"/>
      </dsp:txXfrm>
    </dsp:sp>
    <dsp:sp modelId="{8FB74E86-226F-424F-9CD5-E0F0D9961CBB}">
      <dsp:nvSpPr>
        <dsp:cNvPr id="0" name=""/>
        <dsp:cNvSpPr/>
      </dsp:nvSpPr>
      <dsp:spPr>
        <a:xfrm>
          <a:off x="485774" y="1944097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Строительная техника</a:t>
          </a:r>
        </a:p>
      </dsp:txBody>
      <dsp:txXfrm>
        <a:off x="493864" y="1952187"/>
        <a:ext cx="3870020" cy="260030"/>
      </dsp:txXfrm>
    </dsp:sp>
    <dsp:sp modelId="{1BD6BF1F-3BAF-4C05-8403-AA6128305E36}">
      <dsp:nvSpPr>
        <dsp:cNvPr id="0" name=""/>
        <dsp:cNvSpPr/>
      </dsp:nvSpPr>
      <dsp:spPr>
        <a:xfrm>
          <a:off x="485774" y="2262802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Грузовые автомобили</a:t>
          </a:r>
        </a:p>
      </dsp:txBody>
      <dsp:txXfrm>
        <a:off x="493864" y="2270892"/>
        <a:ext cx="3870020" cy="260030"/>
      </dsp:txXfrm>
    </dsp:sp>
    <dsp:sp modelId="{E80C41D6-C435-4BC2-A631-BF0A9C55DA98}">
      <dsp:nvSpPr>
        <dsp:cNvPr id="0" name=""/>
        <dsp:cNvSpPr/>
      </dsp:nvSpPr>
      <dsp:spPr>
        <a:xfrm>
          <a:off x="485774" y="2581506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Гидроизоляционные работы</a:t>
          </a:r>
        </a:p>
      </dsp:txBody>
      <dsp:txXfrm>
        <a:off x="493864" y="2589596"/>
        <a:ext cx="3870020" cy="260030"/>
      </dsp:txXfrm>
    </dsp:sp>
    <dsp:sp modelId="{AEDFB2CD-3239-44EE-8FF4-47961B0407CA}">
      <dsp:nvSpPr>
        <dsp:cNvPr id="0" name=""/>
        <dsp:cNvSpPr/>
      </dsp:nvSpPr>
      <dsp:spPr>
        <a:xfrm>
          <a:off x="485774" y="2900211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Укладка асфальтового покрытия</a:t>
          </a:r>
        </a:p>
      </dsp:txBody>
      <dsp:txXfrm>
        <a:off x="493864" y="2908301"/>
        <a:ext cx="3870020" cy="260030"/>
      </dsp:txXfrm>
    </dsp:sp>
    <dsp:sp modelId="{6588E9CA-DB49-4E2B-B5FC-D7E8C4F7797C}">
      <dsp:nvSpPr>
        <dsp:cNvPr id="0" name=""/>
        <dsp:cNvSpPr/>
      </dsp:nvSpPr>
      <dsp:spPr>
        <a:xfrm>
          <a:off x="485774" y="3218915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Земляные работы</a:t>
          </a:r>
        </a:p>
      </dsp:txBody>
      <dsp:txXfrm>
        <a:off x="493864" y="3227005"/>
        <a:ext cx="3870020" cy="260030"/>
      </dsp:txXfrm>
    </dsp:sp>
    <dsp:sp modelId="{82B2AB12-F232-4109-98DE-143006D2D64F}">
      <dsp:nvSpPr>
        <dsp:cNvPr id="0" name=""/>
        <dsp:cNvSpPr/>
      </dsp:nvSpPr>
      <dsp:spPr>
        <a:xfrm>
          <a:off x="485774" y="3537620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Пересыпка сыпучих материалов</a:t>
          </a:r>
        </a:p>
      </dsp:txBody>
      <dsp:txXfrm>
        <a:off x="493864" y="3545710"/>
        <a:ext cx="3870020" cy="260030"/>
      </dsp:txXfrm>
    </dsp:sp>
    <dsp:sp modelId="{D002FA6D-5C61-443D-BF4E-8D4FB6DA380A}">
      <dsp:nvSpPr>
        <dsp:cNvPr id="0" name=""/>
        <dsp:cNvSpPr/>
      </dsp:nvSpPr>
      <dsp:spPr>
        <a:xfrm>
          <a:off x="485774" y="3856324"/>
          <a:ext cx="3886200" cy="27621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236CB0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rPr>
            <a:t>Дизельная электростанция</a:t>
          </a:r>
        </a:p>
      </dsp:txBody>
      <dsp:txXfrm>
        <a:off x="493864" y="3864414"/>
        <a:ext cx="3870020" cy="26003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B6A310-47FE-4EAA-AEEA-C5544994941C}">
      <dsp:nvSpPr>
        <dsp:cNvPr id="0" name=""/>
        <dsp:cNvSpPr/>
      </dsp:nvSpPr>
      <dsp:spPr>
        <a:xfrm>
          <a:off x="0" y="624438"/>
          <a:ext cx="4567611" cy="1216800"/>
        </a:xfrm>
        <a:prstGeom prst="roundRect">
          <a:avLst/>
        </a:prstGeom>
        <a:noFill/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 dirty="0">
            <a:solidFill>
              <a:schemeClr val="tx1"/>
            </a:solidFill>
          </a:endParaRPr>
        </a:p>
      </dsp:txBody>
      <dsp:txXfrm>
        <a:off x="59399" y="683837"/>
        <a:ext cx="4448813" cy="109800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0EB57B-89AA-4F74-8016-549D31CAA793}">
      <dsp:nvSpPr>
        <dsp:cNvPr id="0" name=""/>
        <dsp:cNvSpPr/>
      </dsp:nvSpPr>
      <dsp:spPr>
        <a:xfrm>
          <a:off x="0" y="1986749"/>
          <a:ext cx="8629094" cy="1204181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D60500"/>
              </a:solidFill>
              <a:latin typeface="+mn-lt"/>
            </a:rPr>
            <a:t>Мероприятия по защите от шума</a:t>
          </a:r>
        </a:p>
      </dsp:txBody>
      <dsp:txXfrm>
        <a:off x="0" y="1986749"/>
        <a:ext cx="8629094" cy="650258"/>
      </dsp:txXfrm>
    </dsp:sp>
    <dsp:sp modelId="{63601BA5-12CC-4B81-A544-3542C17D3949}">
      <dsp:nvSpPr>
        <dsp:cNvPr id="0" name=""/>
        <dsp:cNvSpPr/>
      </dsp:nvSpPr>
      <dsp:spPr>
        <a:xfrm>
          <a:off x="0" y="2516308"/>
          <a:ext cx="4314547" cy="553923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F09230"/>
              </a:solidFill>
              <a:latin typeface="+mn-lt"/>
            </a:rPr>
            <a:t>Период строительства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глушение двигателя автотранспорта при нахождении на площадке</a:t>
          </a:r>
          <a:endParaRPr lang="ru-RU" sz="1200" kern="1200" dirty="0">
            <a:solidFill>
              <a:schemeClr val="tx1"/>
            </a:solidFill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применение технически исправных машин и механизмов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равномерное распределение шумящей строительной техники по строительной площадке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организовать строительные работы с условием соблюдения «разряженного» режима работы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оптимизация передвижения грузового автотранспорта по территории стройплощадк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ограничение скорости движения автомашин по стройплощадке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улучшение качества подъездных и внутриплощадочных дорог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исключить громкоговорящую связь</a:t>
          </a:r>
        </a:p>
      </dsp:txBody>
      <dsp:txXfrm>
        <a:off x="0" y="2516308"/>
        <a:ext cx="4314547" cy="553923"/>
      </dsp:txXfrm>
    </dsp:sp>
    <dsp:sp modelId="{48389129-2EF8-4F3D-BFD2-C6566F5B5873}">
      <dsp:nvSpPr>
        <dsp:cNvPr id="0" name=""/>
        <dsp:cNvSpPr/>
      </dsp:nvSpPr>
      <dsp:spPr>
        <a:xfrm>
          <a:off x="4314547" y="2507428"/>
          <a:ext cx="4314547" cy="553923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236CB0"/>
              </a:solidFill>
              <a:latin typeface="+mn-lt"/>
            </a:rPr>
            <a:t>Период эксплуатаци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</a:rPr>
            <a:t>звукоизоляция наружных и внутренних ограждающих конструкций помещений</a:t>
          </a:r>
          <a:endParaRPr lang="ru-RU" sz="1200" kern="1200" dirty="0">
            <a:solidFill>
              <a:schemeClr val="tx1"/>
            </a:solidFill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</a:rPr>
            <a:t>отсутствие постоянных рабочих мест в КНС-3 и ГНС-2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</a:rPr>
            <a:t>установка малошумного насосного оборудования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</a:rPr>
            <a:t>все насосы изолируются от трубопроводов резиновыми антивибрационными компенсаторам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b="0" kern="1200" dirty="0">
              <a:solidFill>
                <a:schemeClr val="tx1"/>
              </a:solidFill>
              <a:latin typeface="+mn-lt"/>
            </a:rPr>
            <a:t>применение инженерного оборудования на виброизолирующих основаниях</a:t>
          </a:r>
        </a:p>
      </dsp:txBody>
      <dsp:txXfrm>
        <a:off x="4314547" y="2507428"/>
        <a:ext cx="4314547" cy="553923"/>
      </dsp:txXfrm>
    </dsp:sp>
    <dsp:sp modelId="{37138F54-71EE-4C9B-82D4-B808A35DE0DA}">
      <dsp:nvSpPr>
        <dsp:cNvPr id="0" name=""/>
        <dsp:cNvSpPr/>
      </dsp:nvSpPr>
      <dsp:spPr>
        <a:xfrm rot="10800000">
          <a:off x="0" y="937595"/>
          <a:ext cx="8629094" cy="1852031"/>
        </a:xfrm>
        <a:prstGeom prst="upArrowCallou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D60500"/>
              </a:solidFill>
              <a:latin typeface="+mn-lt"/>
            </a:rPr>
            <a:t>Результат акустического расчета</a:t>
          </a:r>
        </a:p>
      </dsp:txBody>
      <dsp:txXfrm rot="-10800000">
        <a:off x="0" y="937595"/>
        <a:ext cx="8629094" cy="650063"/>
      </dsp:txXfrm>
    </dsp:sp>
    <dsp:sp modelId="{8B7F40EE-05B9-4602-A241-B1EDCBCBA7FB}">
      <dsp:nvSpPr>
        <dsp:cNvPr id="0" name=""/>
        <dsp:cNvSpPr/>
      </dsp:nvSpPr>
      <dsp:spPr>
        <a:xfrm>
          <a:off x="0" y="1517229"/>
          <a:ext cx="4314547" cy="55375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F09230"/>
              </a:solidFill>
              <a:latin typeface="+mn-lt"/>
            </a:rPr>
            <a:t>Период строительства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эквивалентный уровень звука 36,9 </a:t>
          </a:r>
          <a:r>
            <a:rPr lang="ru-RU" sz="1200" kern="1200" dirty="0" err="1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дБА</a:t>
          </a:r>
          <a:endParaRPr lang="ru-RU" sz="1200" kern="1200" dirty="0">
            <a:solidFill>
              <a:schemeClr val="tx1"/>
            </a:solidFill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максимальный уровень звука  39,8 </a:t>
          </a:r>
          <a:r>
            <a:rPr lang="ru-RU" sz="1200" kern="1200" dirty="0" err="1">
              <a:solidFill>
                <a:schemeClr val="tx1"/>
              </a:solidFill>
              <a:latin typeface="+mn-lt"/>
              <a:cs typeface="Arial" panose="020B0604020202020204" pitchFamily="34" charset="0"/>
            </a:rPr>
            <a:t>дБА</a:t>
          </a:r>
          <a:endParaRPr lang="ru-RU" sz="1200" kern="1200" dirty="0">
            <a:solidFill>
              <a:schemeClr val="tx1"/>
            </a:solidFill>
            <a:latin typeface="+mn-lt"/>
          </a:endParaRPr>
        </a:p>
      </dsp:txBody>
      <dsp:txXfrm>
        <a:off x="0" y="1517229"/>
        <a:ext cx="4314547" cy="553757"/>
      </dsp:txXfrm>
    </dsp:sp>
    <dsp:sp modelId="{93B815BF-19FA-4163-83E6-B66D4608CE19}">
      <dsp:nvSpPr>
        <dsp:cNvPr id="0" name=""/>
        <dsp:cNvSpPr/>
      </dsp:nvSpPr>
      <dsp:spPr>
        <a:xfrm>
          <a:off x="4314547" y="1463963"/>
          <a:ext cx="4314547" cy="55375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236CB0"/>
              </a:solidFill>
              <a:latin typeface="+mn-lt"/>
            </a:rPr>
            <a:t>Период эксплуатаци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solidFill>
                <a:schemeClr val="tx1"/>
              </a:solidFill>
              <a:latin typeface="+mn-lt"/>
            </a:rPr>
            <a:t>эквивалентный уровень звука 30,1 </a:t>
          </a:r>
          <a:r>
            <a:rPr lang="ru-RU" sz="1200" kern="1200" dirty="0" err="1">
              <a:solidFill>
                <a:schemeClr val="tx1"/>
              </a:solidFill>
              <a:latin typeface="+mn-lt"/>
            </a:rPr>
            <a:t>дБА</a:t>
          </a:r>
          <a:r>
            <a:rPr lang="ru-RU" sz="1200" kern="1200" dirty="0">
              <a:solidFill>
                <a:schemeClr val="tx1"/>
              </a:solidFill>
              <a:latin typeface="+mn-lt"/>
            </a:rPr>
            <a:t> </a:t>
          </a:r>
        </a:p>
      </dsp:txBody>
      <dsp:txXfrm>
        <a:off x="4314547" y="1463963"/>
        <a:ext cx="4314547" cy="553757"/>
      </dsp:txXfrm>
    </dsp:sp>
    <dsp:sp modelId="{594BD607-6E03-4BA3-AAF9-81CEA66E2891}">
      <dsp:nvSpPr>
        <dsp:cNvPr id="0" name=""/>
        <dsp:cNvSpPr/>
      </dsp:nvSpPr>
      <dsp:spPr>
        <a:xfrm rot="10800000">
          <a:off x="0" y="861"/>
          <a:ext cx="8629094" cy="1852031"/>
        </a:xfrm>
        <a:prstGeom prst="upArrowCallou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D60500"/>
              </a:solidFill>
              <a:latin typeface="+mn-lt"/>
            </a:rPr>
            <a:t>Источники шума</a:t>
          </a:r>
        </a:p>
      </dsp:txBody>
      <dsp:txXfrm rot="-10800000">
        <a:off x="0" y="861"/>
        <a:ext cx="8629094" cy="650063"/>
      </dsp:txXfrm>
    </dsp:sp>
    <dsp:sp modelId="{6235A7D3-17D5-4399-9BF4-4AEB6DB63BFA}">
      <dsp:nvSpPr>
        <dsp:cNvPr id="0" name=""/>
        <dsp:cNvSpPr/>
      </dsp:nvSpPr>
      <dsp:spPr>
        <a:xfrm>
          <a:off x="0" y="479475"/>
          <a:ext cx="4314547" cy="55375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F09230"/>
              </a:solidFill>
              <a:latin typeface="+mn-lt"/>
            </a:rPr>
            <a:t>Период строительства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>
              <a:solidFill>
                <a:schemeClr val="tx1"/>
              </a:solidFill>
              <a:latin typeface="+mn-lt"/>
            </a:rPr>
            <a:t>автотранспорт</a:t>
          </a:r>
          <a:endParaRPr lang="ru-RU" sz="1200" kern="1200" dirty="0">
            <a:solidFill>
              <a:schemeClr val="tx1"/>
            </a:solidFill>
            <a:latin typeface="+mn-lt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solidFill>
                <a:schemeClr val="tx1"/>
              </a:solidFill>
              <a:latin typeface="+mn-lt"/>
            </a:rPr>
            <a:t>дорожная и строительная техника</a:t>
          </a:r>
        </a:p>
      </dsp:txBody>
      <dsp:txXfrm>
        <a:off x="0" y="479475"/>
        <a:ext cx="4314547" cy="553757"/>
      </dsp:txXfrm>
    </dsp:sp>
    <dsp:sp modelId="{73F07026-D7FA-40EC-A4F2-8963498EF785}">
      <dsp:nvSpPr>
        <dsp:cNvPr id="0" name=""/>
        <dsp:cNvSpPr/>
      </dsp:nvSpPr>
      <dsp:spPr>
        <a:xfrm>
          <a:off x="4313813" y="498524"/>
          <a:ext cx="4314547" cy="55375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15240" rIns="85344" bIns="1524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236CB0"/>
              </a:solidFill>
              <a:latin typeface="+mn-lt"/>
            </a:rPr>
            <a:t>Период эксплуатации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solidFill>
                <a:schemeClr val="tx1"/>
              </a:solidFill>
              <a:latin typeface="+mn-lt"/>
            </a:rPr>
            <a:t>насосное оборудование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200" kern="1200" dirty="0">
              <a:solidFill>
                <a:schemeClr val="tx1"/>
              </a:solidFill>
              <a:latin typeface="+mn-lt"/>
            </a:rPr>
            <a:t>системы приточно-вытяжной вентиляции</a:t>
          </a:r>
        </a:p>
      </dsp:txBody>
      <dsp:txXfrm>
        <a:off x="4313813" y="498524"/>
        <a:ext cx="4314547" cy="553757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F40A7C-B21F-4DD1-A459-DA5EF6921F13}">
      <dsp:nvSpPr>
        <dsp:cNvPr id="0" name=""/>
        <dsp:cNvSpPr/>
      </dsp:nvSpPr>
      <dsp:spPr>
        <a:xfrm>
          <a:off x="4060" y="59019"/>
          <a:ext cx="1213501" cy="796360"/>
        </a:xfrm>
        <a:prstGeom prst="roundRect">
          <a:avLst>
            <a:gd name="adj" fmla="val 10000"/>
          </a:avLst>
        </a:prstGeom>
        <a:solidFill>
          <a:srgbClr val="B5CEE5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Сбор хозяйственно-бытовых сточных воды из здания ГНС-2</a:t>
          </a:r>
        </a:p>
      </dsp:txBody>
      <dsp:txXfrm>
        <a:off x="27385" y="82344"/>
        <a:ext cx="1166851" cy="749710"/>
      </dsp:txXfrm>
    </dsp:sp>
    <dsp:sp modelId="{9B4A7332-8CF7-4B90-B119-0463B294D4C8}">
      <dsp:nvSpPr>
        <dsp:cNvPr id="0" name=""/>
        <dsp:cNvSpPr/>
      </dsp:nvSpPr>
      <dsp:spPr>
        <a:xfrm>
          <a:off x="1338911" y="306725"/>
          <a:ext cx="257262" cy="300948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1338911" y="366915"/>
        <a:ext cx="180083" cy="180568"/>
      </dsp:txXfrm>
    </dsp:sp>
    <dsp:sp modelId="{700E8CB0-BD36-40E1-940A-39500A895B24}">
      <dsp:nvSpPr>
        <dsp:cNvPr id="0" name=""/>
        <dsp:cNvSpPr/>
      </dsp:nvSpPr>
      <dsp:spPr>
        <a:xfrm>
          <a:off x="1702961" y="59019"/>
          <a:ext cx="1213501" cy="796360"/>
        </a:xfrm>
        <a:prstGeom prst="roundRect">
          <a:avLst>
            <a:gd name="adj" fmla="val 10000"/>
          </a:avLst>
        </a:prstGeom>
        <a:solidFill>
          <a:srgbClr val="B5CEE5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Система канализации филиала «Азот»</a:t>
          </a:r>
        </a:p>
      </dsp:txBody>
      <dsp:txXfrm>
        <a:off x="1726286" y="82344"/>
        <a:ext cx="1166851" cy="749710"/>
      </dsp:txXfrm>
    </dsp:sp>
    <dsp:sp modelId="{E5603D4A-D27D-4754-9A63-21964F0A801E}">
      <dsp:nvSpPr>
        <dsp:cNvPr id="0" name=""/>
        <dsp:cNvSpPr/>
      </dsp:nvSpPr>
      <dsp:spPr>
        <a:xfrm>
          <a:off x="3037812" y="306725"/>
          <a:ext cx="257262" cy="300948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3037812" y="366915"/>
        <a:ext cx="180083" cy="180568"/>
      </dsp:txXfrm>
    </dsp:sp>
    <dsp:sp modelId="{51134FD8-EAE1-4129-9B0E-0B729FC58701}">
      <dsp:nvSpPr>
        <dsp:cNvPr id="0" name=""/>
        <dsp:cNvSpPr/>
      </dsp:nvSpPr>
      <dsp:spPr>
        <a:xfrm>
          <a:off x="3401862" y="59019"/>
          <a:ext cx="1213501" cy="796360"/>
        </a:xfrm>
        <a:prstGeom prst="roundRect">
          <a:avLst>
            <a:gd name="adj" fmla="val 10000"/>
          </a:avLst>
        </a:prstGeom>
        <a:solidFill>
          <a:srgbClr val="B5CEE5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/>
            <a:t>Очистные сооружения (ЦОС)</a:t>
          </a:r>
          <a:endParaRPr lang="ru-RU" sz="1000" kern="1200" baseline="30000" dirty="0"/>
        </a:p>
      </dsp:txBody>
      <dsp:txXfrm>
        <a:off x="3425187" y="82344"/>
        <a:ext cx="1166851" cy="74971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F40A7C-B21F-4DD1-A459-DA5EF6921F13}">
      <dsp:nvSpPr>
        <dsp:cNvPr id="0" name=""/>
        <dsp:cNvSpPr/>
      </dsp:nvSpPr>
      <dsp:spPr>
        <a:xfrm>
          <a:off x="4283" y="198174"/>
          <a:ext cx="886703" cy="848380"/>
        </a:xfrm>
        <a:prstGeom prst="roundRect">
          <a:avLst>
            <a:gd name="adj" fmla="val 10000"/>
          </a:avLst>
        </a:prstGeom>
        <a:solidFill>
          <a:srgbClr val="E18E8B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ECECEC"/>
              </a:solidFill>
            </a:rPr>
            <a:t>Сбор дождевых и талых вод с территории ГНС-2</a:t>
          </a:r>
        </a:p>
      </dsp:txBody>
      <dsp:txXfrm>
        <a:off x="29131" y="223022"/>
        <a:ext cx="837007" cy="798684"/>
      </dsp:txXfrm>
    </dsp:sp>
    <dsp:sp modelId="{9B4A7332-8CF7-4B90-B119-0463B294D4C8}">
      <dsp:nvSpPr>
        <dsp:cNvPr id="0" name=""/>
        <dsp:cNvSpPr/>
      </dsp:nvSpPr>
      <dsp:spPr>
        <a:xfrm>
          <a:off x="979657" y="512413"/>
          <a:ext cx="187981" cy="219902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979657" y="556393"/>
        <a:ext cx="131587" cy="131942"/>
      </dsp:txXfrm>
    </dsp:sp>
    <dsp:sp modelId="{700E8CB0-BD36-40E1-940A-39500A895B24}">
      <dsp:nvSpPr>
        <dsp:cNvPr id="0" name=""/>
        <dsp:cNvSpPr/>
      </dsp:nvSpPr>
      <dsp:spPr>
        <a:xfrm>
          <a:off x="1245668" y="198174"/>
          <a:ext cx="886703" cy="848380"/>
        </a:xfrm>
        <a:prstGeom prst="roundRect">
          <a:avLst>
            <a:gd name="adj" fmla="val 10000"/>
          </a:avLst>
        </a:prstGeom>
        <a:solidFill>
          <a:srgbClr val="E18E8B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ECECEC"/>
              </a:solidFill>
            </a:rPr>
            <a:t>Локальные очистные сооружения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rgbClr val="ECECEC"/>
              </a:solidFill>
            </a:rPr>
            <a:t>FloTenk-OP-OM-SB-1,5</a:t>
          </a:r>
          <a:endParaRPr lang="ru-RU" sz="1000" kern="1200" dirty="0">
            <a:solidFill>
              <a:srgbClr val="ECECEC"/>
            </a:solidFill>
          </a:endParaRPr>
        </a:p>
      </dsp:txBody>
      <dsp:txXfrm>
        <a:off x="1270516" y="223022"/>
        <a:ext cx="837007" cy="798684"/>
      </dsp:txXfrm>
    </dsp:sp>
    <dsp:sp modelId="{E5603D4A-D27D-4754-9A63-21964F0A801E}">
      <dsp:nvSpPr>
        <dsp:cNvPr id="0" name=""/>
        <dsp:cNvSpPr/>
      </dsp:nvSpPr>
      <dsp:spPr>
        <a:xfrm>
          <a:off x="2221041" y="512413"/>
          <a:ext cx="187981" cy="219902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2221041" y="556393"/>
        <a:ext cx="131587" cy="131942"/>
      </dsp:txXfrm>
    </dsp:sp>
    <dsp:sp modelId="{51134FD8-EAE1-4129-9B0E-0B729FC58701}">
      <dsp:nvSpPr>
        <dsp:cNvPr id="0" name=""/>
        <dsp:cNvSpPr/>
      </dsp:nvSpPr>
      <dsp:spPr>
        <a:xfrm>
          <a:off x="2487052" y="198174"/>
          <a:ext cx="886703" cy="848380"/>
        </a:xfrm>
        <a:prstGeom prst="roundRect">
          <a:avLst>
            <a:gd name="adj" fmla="val 10000"/>
          </a:avLst>
        </a:prstGeom>
        <a:solidFill>
          <a:srgbClr val="E18E8B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ECECEC"/>
              </a:solidFill>
            </a:rPr>
            <a:t>Нагорная канава пруда-накопителя</a:t>
          </a:r>
          <a:endParaRPr lang="ru-RU" sz="1000" kern="1200" baseline="30000" dirty="0">
            <a:solidFill>
              <a:srgbClr val="ECECEC"/>
            </a:solidFill>
          </a:endParaRPr>
        </a:p>
      </dsp:txBody>
      <dsp:txXfrm>
        <a:off x="2511900" y="223022"/>
        <a:ext cx="837007" cy="798684"/>
      </dsp:txXfrm>
    </dsp:sp>
    <dsp:sp modelId="{E0F4450C-C22E-4BC3-8B42-58A30834F9E1}">
      <dsp:nvSpPr>
        <dsp:cNvPr id="0" name=""/>
        <dsp:cNvSpPr/>
      </dsp:nvSpPr>
      <dsp:spPr>
        <a:xfrm>
          <a:off x="3462426" y="512413"/>
          <a:ext cx="187981" cy="219902"/>
        </a:xfrm>
        <a:prstGeom prst="rightArrow">
          <a:avLst>
            <a:gd name="adj1" fmla="val 60000"/>
            <a:gd name="adj2" fmla="val 50000"/>
          </a:avLst>
        </a:prstGeom>
        <a:solidFill>
          <a:srgbClr val="14446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3462426" y="556393"/>
        <a:ext cx="131587" cy="131942"/>
      </dsp:txXfrm>
    </dsp:sp>
    <dsp:sp modelId="{30F8A158-3858-404F-A974-01812E7485CF}">
      <dsp:nvSpPr>
        <dsp:cNvPr id="0" name=""/>
        <dsp:cNvSpPr/>
      </dsp:nvSpPr>
      <dsp:spPr>
        <a:xfrm>
          <a:off x="3728437" y="198174"/>
          <a:ext cx="886703" cy="848380"/>
        </a:xfrm>
        <a:prstGeom prst="roundRect">
          <a:avLst>
            <a:gd name="adj" fmla="val 10000"/>
          </a:avLst>
        </a:prstGeom>
        <a:solidFill>
          <a:srgbClr val="E18E8B"/>
        </a:solidFill>
        <a:ln w="25400" cap="flat" cmpd="sng" algn="ctr">
          <a:solidFill>
            <a:srgbClr val="236CB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000" kern="1200" dirty="0">
              <a:solidFill>
                <a:srgbClr val="ECECEC"/>
              </a:solidFill>
              <a:latin typeface="Arial"/>
              <a:ea typeface="Batang"/>
              <a:cs typeface="Arial"/>
            </a:rPr>
            <a:t>Промышленный канал</a:t>
          </a:r>
        </a:p>
      </dsp:txBody>
      <dsp:txXfrm>
        <a:off x="3753285" y="223022"/>
        <a:ext cx="837007" cy="7986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1163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038" y="1"/>
            <a:ext cx="2951162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C2BD5CEA-5387-4E47-9DCC-F23336EBDF37}" type="datetimeFigureOut">
              <a:rPr lang="ru-RU" smtClean="0"/>
              <a:t>17.07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2451"/>
            <a:ext cx="2951163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038" y="9442451"/>
            <a:ext cx="2951162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0C58EBB6-DE8E-44A3-AF04-4D80ACAFE5F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89903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0475" cy="498773"/>
          </a:xfrm>
          <a:prstGeom prst="rect">
            <a:avLst/>
          </a:prstGeom>
        </p:spPr>
        <p:txBody>
          <a:bodyPr vert="horz" lIns="91567" tIns="45785" rIns="91567" bIns="4578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9" y="1"/>
            <a:ext cx="2950475" cy="498773"/>
          </a:xfrm>
          <a:prstGeom prst="rect">
            <a:avLst/>
          </a:prstGeom>
        </p:spPr>
        <p:txBody>
          <a:bodyPr vert="horz" lIns="91567" tIns="45785" rIns="91567" bIns="45785" rtlCol="0"/>
          <a:lstStyle>
            <a:lvl1pPr algn="r">
              <a:defRPr sz="1200"/>
            </a:lvl1pPr>
          </a:lstStyle>
          <a:p>
            <a:fld id="{9E744161-EA1F-4B20-ADB4-AAD0B7A67FF3}" type="datetimeFigureOut">
              <a:rPr lang="ru-RU" smtClean="0"/>
              <a:t>17.07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34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7" tIns="45785" rIns="91567" bIns="4578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84069"/>
            <a:ext cx="5447030" cy="3914240"/>
          </a:xfrm>
          <a:prstGeom prst="rect">
            <a:avLst/>
          </a:prstGeom>
        </p:spPr>
        <p:txBody>
          <a:bodyPr vert="horz" lIns="91567" tIns="45785" rIns="91567" bIns="4578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2156"/>
            <a:ext cx="2950475" cy="498772"/>
          </a:xfrm>
          <a:prstGeom prst="rect">
            <a:avLst/>
          </a:prstGeom>
        </p:spPr>
        <p:txBody>
          <a:bodyPr vert="horz" lIns="91567" tIns="45785" rIns="91567" bIns="4578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9" y="9442156"/>
            <a:ext cx="2950475" cy="498772"/>
          </a:xfrm>
          <a:prstGeom prst="rect">
            <a:avLst/>
          </a:prstGeom>
        </p:spPr>
        <p:txBody>
          <a:bodyPr vert="horz" lIns="91567" tIns="45785" rIns="91567" bIns="45785" rtlCol="0" anchor="b"/>
          <a:lstStyle>
            <a:lvl1pPr algn="r">
              <a:defRPr sz="1200"/>
            </a:lvl1pPr>
          </a:lstStyle>
          <a:p>
            <a:fld id="{621C0B71-DE97-49AA-8BD1-EC7962657CC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878199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 вариант титульного слайда. Информационный блок в правом</a:t>
            </a:r>
            <a:r>
              <a:rPr lang="ru-RU" baseline="0" dirty="0"/>
              <a:t> нижнем углу может меняться стандартным путем (добавление новых строк, изменение приоритетов в информации и тд). Изображение меняется следующим образом – правая конпка мыши – изменить рисунок-выбераете новое изображение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2965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537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6332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659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5970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20795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01115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 Два объекта ВЕРТИК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0472" y="260648"/>
            <a:ext cx="9505056" cy="504056"/>
          </a:xfrm>
        </p:spPr>
        <p:txBody>
          <a:bodyPr anchor="t">
            <a:normAutofit/>
          </a:bodyPr>
          <a:lstStyle>
            <a:lvl1pPr algn="l">
              <a:defRPr sz="3033" b="1">
                <a:solidFill>
                  <a:srgbClr val="0070C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19919" y="1484787"/>
            <a:ext cx="6029226" cy="4824535"/>
          </a:xfrm>
        </p:spPr>
        <p:txBody>
          <a:bodyPr/>
          <a:lstStyle>
            <a:lvl1pPr>
              <a:defRPr sz="2167"/>
            </a:lvl1pPr>
            <a:lvl2pPr>
              <a:defRPr sz="1950"/>
            </a:lvl2pPr>
            <a:lvl3pPr>
              <a:defRPr sz="1733"/>
            </a:lvl3pPr>
            <a:lvl4pPr>
              <a:defRPr sz="1517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93160" y="1484787"/>
            <a:ext cx="3312369" cy="4824535"/>
          </a:xfrm>
        </p:spPr>
        <p:txBody>
          <a:bodyPr/>
          <a:lstStyle>
            <a:lvl1pPr>
              <a:defRPr sz="2167"/>
            </a:lvl1pPr>
            <a:lvl2pPr>
              <a:defRPr sz="1950"/>
            </a:lvl2pPr>
            <a:lvl3pPr>
              <a:defRPr sz="1733"/>
            </a:lvl3pPr>
            <a:lvl4pPr>
              <a:defRPr sz="1517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>
          <a:xfrm>
            <a:off x="9325273" y="6492878"/>
            <a:ext cx="572666" cy="365125"/>
          </a:xfrm>
        </p:spPr>
        <p:txBody>
          <a:bodyPr/>
          <a:lstStyle/>
          <a:p>
            <a:fld id="{652D8708-404D-4C42-BD84-07A867FB7CE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1" hasCustomPrompt="1"/>
          </p:nvPr>
        </p:nvSpPr>
        <p:spPr>
          <a:xfrm>
            <a:off x="210839" y="764704"/>
            <a:ext cx="9494689" cy="504056"/>
          </a:xfrm>
        </p:spPr>
        <p:txBody>
          <a:bodyPr>
            <a:normAutofit/>
          </a:bodyPr>
          <a:lstStyle>
            <a:lvl1pPr marL="0" indent="0" algn="l">
              <a:buNone/>
              <a:defRPr sz="26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9235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1" y="273054"/>
            <a:ext cx="5537729" cy="5853113"/>
          </a:xfrm>
        </p:spPr>
        <p:txBody>
          <a:bodyPr/>
          <a:lstStyle>
            <a:lvl1pPr>
              <a:defRPr sz="3467"/>
            </a:lvl1pPr>
            <a:lvl2pPr>
              <a:defRPr sz="3033"/>
            </a:lvl2pPr>
            <a:lvl3pPr>
              <a:defRPr sz="2600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76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467"/>
            </a:lvl1pPr>
            <a:lvl2pPr marL="495285" indent="0">
              <a:buNone/>
              <a:defRPr sz="3033"/>
            </a:lvl2pPr>
            <a:lvl3pPr marL="990570" indent="0">
              <a:buNone/>
              <a:defRPr sz="2600"/>
            </a:lvl3pPr>
            <a:lvl4pPr marL="1485854" indent="0">
              <a:buNone/>
              <a:defRPr sz="2167"/>
            </a:lvl4pPr>
            <a:lvl5pPr marL="1981139" indent="0">
              <a:buNone/>
              <a:defRPr sz="2167"/>
            </a:lvl5pPr>
            <a:lvl6pPr marL="2476424" indent="0">
              <a:buNone/>
              <a:defRPr sz="2167"/>
            </a:lvl6pPr>
            <a:lvl7pPr marL="2971709" indent="0">
              <a:buNone/>
              <a:defRPr sz="2167"/>
            </a:lvl7pPr>
            <a:lvl8pPr marL="3466993" indent="0">
              <a:buNone/>
              <a:defRPr sz="2167"/>
            </a:lvl8pPr>
            <a:lvl9pPr marL="3962278" indent="0">
              <a:buNone/>
              <a:defRPr sz="2167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505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06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2"/>
            <a:ext cx="222885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42"/>
            <a:ext cx="652145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07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9"/>
          <p:cNvSpPr>
            <a:spLocks noGrp="1"/>
          </p:cNvSpPr>
          <p:nvPr>
            <p:ph type="dt" sz="half" idx="10"/>
          </p:nvPr>
        </p:nvSpPr>
        <p:spPr>
          <a:xfrm>
            <a:off x="5221368" y="6313383"/>
            <a:ext cx="2311400" cy="365125"/>
          </a:xfrm>
          <a:prstGeom prst="rect">
            <a:avLst/>
          </a:prstGeom>
        </p:spPr>
        <p:txBody>
          <a:bodyPr lIns="104141" tIns="52071" rIns="104141" bIns="52071"/>
          <a:lstStyle>
            <a:lvl1pPr defTabSz="897175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endParaRPr lang="ru-RU" sz="1769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Номер слайда 10"/>
          <p:cNvSpPr>
            <a:spLocks noGrp="1"/>
          </p:cNvSpPr>
          <p:nvPr>
            <p:ph type="sldNum" sz="quarter" idx="11"/>
          </p:nvPr>
        </p:nvSpPr>
        <p:spPr>
          <a:xfrm>
            <a:off x="8680346" y="6313383"/>
            <a:ext cx="730340" cy="365125"/>
          </a:xfrm>
          <a:prstGeom prst="rect">
            <a:avLst/>
          </a:prstGeom>
        </p:spPr>
        <p:txBody>
          <a:bodyPr lIns="104160" tIns="52080" rIns="104160" bIns="52080"/>
          <a:lstStyle>
            <a:lvl1pPr defTabSz="897175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fld id="{1F67CD61-3FCE-4098-AB79-A6DE7CFE7585}" type="slidenum">
              <a:rPr lang="ru-RU" sz="1769" smtClean="0">
                <a:solidFill>
                  <a:srgbClr val="FFFFFF"/>
                </a:solidFill>
                <a:latin typeface="Arial" charset="0"/>
              </a:rPr>
              <a:pPr/>
              <a:t>‹#›</a:t>
            </a:fld>
            <a:r>
              <a:rPr lang="ru-RU" sz="1769" dirty="0">
                <a:solidFill>
                  <a:srgbClr val="FFFFFF"/>
                </a:solidFill>
                <a:latin typeface="Arial" charset="0"/>
              </a:rPr>
              <a:t> </a:t>
            </a:r>
          </a:p>
        </p:txBody>
      </p:sp>
      <p:sp>
        <p:nvSpPr>
          <p:cNvPr id="5" name="Нижний колонтитул 11"/>
          <p:cNvSpPr>
            <a:spLocks noGrp="1"/>
          </p:cNvSpPr>
          <p:nvPr>
            <p:ph type="ftr" sz="quarter" idx="12"/>
          </p:nvPr>
        </p:nvSpPr>
        <p:spPr>
          <a:xfrm>
            <a:off x="1048355" y="6313383"/>
            <a:ext cx="3510582" cy="365125"/>
          </a:xfrm>
          <a:prstGeom prst="rect">
            <a:avLst/>
          </a:prstGeom>
        </p:spPr>
        <p:txBody>
          <a:bodyPr lIns="104141" tIns="52071" rIns="104141" bIns="52071"/>
          <a:lstStyle>
            <a:lvl1pPr defTabSz="897175"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endParaRPr lang="ru-RU" sz="1769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7071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текст картинк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3010" y="645071"/>
            <a:ext cx="8755459" cy="911721"/>
          </a:xfrm>
        </p:spPr>
        <p:txBody>
          <a:bodyPr lIns="0" tIns="0" rIns="0" bIns="0" anchor="t" anchorCtr="0">
            <a:normAutofit/>
          </a:bodyPr>
          <a:lstStyle>
            <a:lvl1pPr algn="l">
              <a:defRPr sz="2700" cap="all" baseline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613400" y="6233120"/>
            <a:ext cx="3816271" cy="241002"/>
          </a:xfrm>
          <a:prstGeom prst="rect">
            <a:avLst/>
          </a:prstGeom>
        </p:spPr>
        <p:txBody>
          <a:bodyPr/>
          <a:lstStyle>
            <a:lvl1pPr algn="r">
              <a:defRPr sz="700" cap="all" baseline="0"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92537" y="6155780"/>
            <a:ext cx="595209" cy="365125"/>
          </a:xfrm>
        </p:spPr>
        <p:txBody>
          <a:bodyPr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fld id="{A6B06EC4-1553-4EEC-8AFC-5F451267173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593330" y="1817688"/>
            <a:ext cx="4359671" cy="963240"/>
          </a:xfrm>
        </p:spPr>
        <p:txBody>
          <a:bodyPr lIns="0" tIns="0" rIns="0" bIns="0">
            <a:normAutofit/>
          </a:bodyPr>
          <a:lstStyle>
            <a:lvl1pPr marL="0" indent="0">
              <a:spcBef>
                <a:spcPts val="0"/>
              </a:spcBef>
              <a:buNone/>
              <a:defRPr sz="13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4" hasCustomPrompt="1"/>
          </p:nvPr>
        </p:nvSpPr>
        <p:spPr>
          <a:xfrm>
            <a:off x="603648" y="3078164"/>
            <a:ext cx="4349353" cy="2447925"/>
          </a:xfrm>
        </p:spPr>
        <p:txBody>
          <a:bodyPr lIns="0" tIns="0" rIns="0" bIns="0">
            <a:norm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Arial" panose="020B0604020202020204" pitchFamily="34" charset="0"/>
              <a:buChar char="•"/>
              <a:tabLst>
                <a:tab pos="266700" algn="l"/>
              </a:tabLst>
              <a:defRPr sz="1200" baseline="0"/>
            </a:lvl1pPr>
          </a:lstStyle>
          <a:p>
            <a:pPr lvl="0"/>
            <a:r>
              <a:rPr lang="ru-RU" dirty="0"/>
              <a:t>Текст слайда</a:t>
            </a:r>
          </a:p>
        </p:txBody>
      </p:sp>
    </p:spTree>
    <p:extLst>
      <p:ext uri="{BB962C8B-B14F-4D97-AF65-F5344CB8AC3E}">
        <p14:creationId xmlns:p14="http://schemas.microsoft.com/office/powerpoint/2010/main" val="3715901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67"/>
          <p:cNvSpPr>
            <a:spLocks noChangeShapeType="1"/>
          </p:cNvSpPr>
          <p:nvPr/>
        </p:nvSpPr>
        <p:spPr bwMode="auto">
          <a:xfrm>
            <a:off x="9516702" y="2516909"/>
            <a:ext cx="0" cy="1339273"/>
          </a:xfrm>
          <a:prstGeom prst="line">
            <a:avLst/>
          </a:prstGeom>
          <a:noFill/>
          <a:ln w="76200">
            <a:solidFill>
              <a:schemeClr val="folHlink"/>
            </a:solidFill>
            <a:round/>
            <a:headEnd/>
            <a:tailEnd/>
          </a:ln>
        </p:spPr>
        <p:txBody>
          <a:bodyPr lIns="0" tIns="0" rIns="0" bIns="0"/>
          <a:lstStyle/>
          <a:p>
            <a:pPr marL="0" marR="0" lvl="0" indent="0" algn="l" defTabSz="831281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182" b="1" i="0" u="none" strike="noStrike" kern="1200" cap="none" spc="0" normalizeH="0" baseline="0" noProof="0" dirty="0">
              <a:ln>
                <a:noFill/>
              </a:ln>
              <a:solidFill>
                <a:srgbClr val="164463"/>
              </a:solidFill>
              <a:effectLst/>
              <a:uLnTx/>
              <a:uFillTx/>
              <a:latin typeface="Arial" pitchFamily="34" charset="0"/>
              <a:ea typeface="Batang" pitchFamily="18" charset="-127"/>
              <a:cs typeface="Arial"/>
            </a:endParaRPr>
          </a:p>
        </p:txBody>
      </p:sp>
      <p:grpSp>
        <p:nvGrpSpPr>
          <p:cNvPr id="6" name="Group 69"/>
          <p:cNvGrpSpPr>
            <a:grpSpLocks/>
          </p:cNvGrpSpPr>
          <p:nvPr/>
        </p:nvGrpSpPr>
        <p:grpSpPr bwMode="auto">
          <a:xfrm>
            <a:off x="-1099104" y="344921"/>
            <a:ext cx="950576" cy="4469534"/>
            <a:chOff x="-703" y="239"/>
            <a:chExt cx="608" cy="3097"/>
          </a:xfrm>
        </p:grpSpPr>
        <p:sp>
          <p:nvSpPr>
            <p:cNvPr id="7" name="LAYOUT HEADER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-703" y="239"/>
              <a:ext cx="599" cy="13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38100"/>
            <a:lstStyle>
              <a:lvl1pPr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1pPr>
              <a:lvl2pPr marL="742950" indent="-28575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2pPr>
              <a:lvl3pPr marL="11430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3pPr>
              <a:lvl4pPr marL="16002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4pPr>
              <a:lvl5pPr marL="20574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9pPr>
            </a:lstStyle>
            <a:p>
              <a:pPr marL="0" marR="0" lvl="0" indent="0" algn="l" defTabSz="83128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Arial Unicode MS" pitchFamily="34" charset="-128"/>
                  <a:cs typeface="Arial Unicode MS" pitchFamily="34" charset="-128"/>
                </a:rPr>
                <a:t>Colour palette</a:t>
              </a:r>
            </a:p>
          </p:txBody>
        </p:sp>
        <p:sp>
          <p:nvSpPr>
            <p:cNvPr id="8" name="Rectangle 71"/>
            <p:cNvSpPr>
              <a:spLocks noChangeArrowheads="1"/>
            </p:cNvSpPr>
            <p:nvPr userDrawn="1"/>
          </p:nvSpPr>
          <p:spPr bwMode="gray">
            <a:xfrm rot="-5400000">
              <a:off x="-714" y="2329"/>
              <a:ext cx="275" cy="25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6</a:t>
              </a:r>
            </a:p>
          </p:txBody>
        </p:sp>
        <p:sp>
          <p:nvSpPr>
            <p:cNvPr id="9" name="Rectangle 72"/>
            <p:cNvSpPr>
              <a:spLocks noChangeArrowheads="1"/>
            </p:cNvSpPr>
            <p:nvPr userDrawn="1"/>
          </p:nvSpPr>
          <p:spPr bwMode="gray">
            <a:xfrm rot="-5400000">
              <a:off x="-713" y="1212"/>
              <a:ext cx="274" cy="25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</p:txBody>
        </p:sp>
        <p:sp>
          <p:nvSpPr>
            <p:cNvPr id="10" name="Rectangle 73"/>
            <p:cNvSpPr>
              <a:spLocks noChangeArrowheads="1"/>
            </p:cNvSpPr>
            <p:nvPr userDrawn="1"/>
          </p:nvSpPr>
          <p:spPr bwMode="gray">
            <a:xfrm rot="-5400000">
              <a:off x="-713" y="469"/>
              <a:ext cx="274" cy="2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3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08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76</a:t>
              </a:r>
            </a:p>
          </p:txBody>
        </p:sp>
        <p:sp>
          <p:nvSpPr>
            <p:cNvPr id="11" name="Rectangle 74"/>
            <p:cNvSpPr>
              <a:spLocks noChangeArrowheads="1"/>
            </p:cNvSpPr>
            <p:nvPr userDrawn="1"/>
          </p:nvSpPr>
          <p:spPr bwMode="gray">
            <a:xfrm rot="-5400000">
              <a:off x="-714" y="2701"/>
              <a:ext cx="275" cy="254"/>
            </a:xfrm>
            <a:prstGeom prst="rect">
              <a:avLst/>
            </a:prstGeom>
            <a:solidFill>
              <a:srgbClr val="B5CEE5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8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9</a:t>
              </a:r>
            </a:p>
          </p:txBody>
        </p:sp>
        <p:sp>
          <p:nvSpPr>
            <p:cNvPr id="12" name="Rectangle 75"/>
            <p:cNvSpPr>
              <a:spLocks noChangeArrowheads="1"/>
            </p:cNvSpPr>
            <p:nvPr userDrawn="1"/>
          </p:nvSpPr>
          <p:spPr bwMode="gray">
            <a:xfrm rot="-5400000">
              <a:off x="-713" y="839"/>
              <a:ext cx="275" cy="254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5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5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51</a:t>
              </a:r>
            </a:p>
          </p:txBody>
        </p:sp>
        <p:sp>
          <p:nvSpPr>
            <p:cNvPr id="13" name="Rectangle 76"/>
            <p:cNvSpPr>
              <a:spLocks noChangeArrowheads="1"/>
            </p:cNvSpPr>
            <p:nvPr userDrawn="1"/>
          </p:nvSpPr>
          <p:spPr bwMode="gray">
            <a:xfrm rot="-5400000">
              <a:off x="-713" y="1956"/>
              <a:ext cx="274" cy="254"/>
            </a:xfrm>
            <a:prstGeom prst="rect">
              <a:avLst/>
            </a:prstGeom>
            <a:solidFill>
              <a:srgbClr val="D60500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1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</p:txBody>
        </p:sp>
        <p:sp>
          <p:nvSpPr>
            <p:cNvPr id="14" name="Rectangle 77"/>
            <p:cNvSpPr>
              <a:spLocks noChangeArrowheads="1"/>
            </p:cNvSpPr>
            <p:nvPr userDrawn="1"/>
          </p:nvSpPr>
          <p:spPr bwMode="gray">
            <a:xfrm rot="-5400000">
              <a:off x="-713" y="3072"/>
              <a:ext cx="274" cy="254"/>
            </a:xfrm>
            <a:prstGeom prst="rect">
              <a:avLst/>
            </a:prstGeom>
            <a:solidFill>
              <a:srgbClr val="4981BF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73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2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91</a:t>
              </a:r>
            </a:p>
          </p:txBody>
        </p:sp>
        <p:sp>
          <p:nvSpPr>
            <p:cNvPr id="15" name="Rectangle 78"/>
            <p:cNvSpPr>
              <a:spLocks noChangeArrowheads="1"/>
            </p:cNvSpPr>
            <p:nvPr userDrawn="1"/>
          </p:nvSpPr>
          <p:spPr bwMode="gray">
            <a:xfrm rot="-5400000">
              <a:off x="-713" y="1584"/>
              <a:ext cx="274" cy="25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68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08</a:t>
              </a:r>
            </a:p>
          </p:txBody>
        </p:sp>
        <p:sp>
          <p:nvSpPr>
            <p:cNvPr id="16" name="Rectangle 79"/>
            <p:cNvSpPr>
              <a:spLocks noChangeArrowheads="1"/>
            </p:cNvSpPr>
            <p:nvPr userDrawn="1"/>
          </p:nvSpPr>
          <p:spPr bwMode="gray">
            <a:xfrm rot="-5400000">
              <a:off x="-360" y="2329"/>
              <a:ext cx="275" cy="254"/>
            </a:xfrm>
            <a:prstGeom prst="rect">
              <a:avLst/>
            </a:prstGeom>
            <a:solidFill>
              <a:srgbClr val="4095D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6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4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0</a:t>
              </a:r>
            </a:p>
          </p:txBody>
        </p:sp>
        <p:sp>
          <p:nvSpPr>
            <p:cNvPr id="17" name="Rectangle 80"/>
            <p:cNvSpPr>
              <a:spLocks noChangeArrowheads="1"/>
            </p:cNvSpPr>
            <p:nvPr userDrawn="1"/>
          </p:nvSpPr>
          <p:spPr bwMode="gray">
            <a:xfrm rot="-5400000">
              <a:off x="-359" y="1212"/>
              <a:ext cx="274" cy="25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4</a:t>
              </a:r>
            </a:p>
          </p:txBody>
        </p:sp>
        <p:sp>
          <p:nvSpPr>
            <p:cNvPr id="18" name="Rectangle 81"/>
            <p:cNvSpPr>
              <a:spLocks noChangeArrowheads="1"/>
            </p:cNvSpPr>
            <p:nvPr userDrawn="1"/>
          </p:nvSpPr>
          <p:spPr bwMode="gray">
            <a:xfrm rot="-5400000">
              <a:off x="-359" y="469"/>
              <a:ext cx="274" cy="2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7</a:t>
              </a:r>
            </a:p>
          </p:txBody>
        </p:sp>
        <p:sp>
          <p:nvSpPr>
            <p:cNvPr id="19" name="Rectangle 82"/>
            <p:cNvSpPr>
              <a:spLocks noChangeArrowheads="1"/>
            </p:cNvSpPr>
            <p:nvPr userDrawn="1"/>
          </p:nvSpPr>
          <p:spPr bwMode="gray">
            <a:xfrm rot="-5400000">
              <a:off x="-360" y="2701"/>
              <a:ext cx="275" cy="254"/>
            </a:xfrm>
            <a:prstGeom prst="rect">
              <a:avLst/>
            </a:prstGeom>
            <a:solidFill>
              <a:srgbClr val="F8CDA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48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62</a:t>
              </a:r>
            </a:p>
          </p:txBody>
        </p:sp>
        <p:sp>
          <p:nvSpPr>
            <p:cNvPr id="20" name="Rectangle 83"/>
            <p:cNvSpPr>
              <a:spLocks noChangeArrowheads="1"/>
            </p:cNvSpPr>
            <p:nvPr userDrawn="1"/>
          </p:nvSpPr>
          <p:spPr bwMode="gray">
            <a:xfrm rot="-5400000">
              <a:off x="-359" y="839"/>
              <a:ext cx="275" cy="25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4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4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48</a:t>
              </a:r>
            </a:p>
          </p:txBody>
        </p:sp>
        <p:sp>
          <p:nvSpPr>
            <p:cNvPr id="21" name="Rectangle 84"/>
            <p:cNvSpPr>
              <a:spLocks noChangeArrowheads="1"/>
            </p:cNvSpPr>
            <p:nvPr userDrawn="1"/>
          </p:nvSpPr>
          <p:spPr bwMode="gray">
            <a:xfrm rot="-5400000">
              <a:off x="-359" y="1956"/>
              <a:ext cx="274" cy="254"/>
            </a:xfrm>
            <a:prstGeom prst="rect">
              <a:avLst/>
            </a:prstGeom>
            <a:solidFill>
              <a:srgbClr val="A6AFBE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6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7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90</a:t>
              </a:r>
            </a:p>
          </p:txBody>
        </p:sp>
        <p:sp>
          <p:nvSpPr>
            <p:cNvPr id="22" name="Rectangle 85"/>
            <p:cNvSpPr>
              <a:spLocks noChangeArrowheads="1"/>
            </p:cNvSpPr>
            <p:nvPr userDrawn="1"/>
          </p:nvSpPr>
          <p:spPr bwMode="gray">
            <a:xfrm rot="-5400000">
              <a:off x="-359" y="3072"/>
              <a:ext cx="274" cy="254"/>
            </a:xfrm>
            <a:prstGeom prst="rect">
              <a:avLst/>
            </a:prstGeom>
            <a:solidFill>
              <a:srgbClr val="E18E8B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42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39</a:t>
              </a:r>
            </a:p>
          </p:txBody>
        </p:sp>
        <p:sp>
          <p:nvSpPr>
            <p:cNvPr id="23" name="Rectangle 86"/>
            <p:cNvSpPr>
              <a:spLocks noChangeArrowheads="1"/>
            </p:cNvSpPr>
            <p:nvPr userDrawn="1"/>
          </p:nvSpPr>
          <p:spPr bwMode="gray">
            <a:xfrm rot="-5400000">
              <a:off x="-359" y="1584"/>
              <a:ext cx="274" cy="254"/>
            </a:xfrm>
            <a:prstGeom prst="rect">
              <a:avLst/>
            </a:prstGeom>
            <a:solidFill>
              <a:srgbClr val="8BAED6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3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7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14</a:t>
              </a:r>
            </a:p>
          </p:txBody>
        </p:sp>
      </p:grpSp>
      <p:sp>
        <p:nvSpPr>
          <p:cNvPr id="1013762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573786" y="2436091"/>
            <a:ext cx="8899140" cy="1317625"/>
          </a:xfrm>
          <a:prstGeom prst="rect">
            <a:avLst/>
          </a:prstGeom>
        </p:spPr>
        <p:txBody>
          <a:bodyPr lIns="90569" tIns="45301" rIns="90569" bIns="45301"/>
          <a:lstStyle>
            <a:lvl1pPr algn="r">
              <a:defRPr sz="3636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137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04770" y="3880716"/>
            <a:ext cx="6746274" cy="789420"/>
          </a:xfrm>
          <a:prstGeom prst="rect">
            <a:avLst/>
          </a:prstGeom>
        </p:spPr>
        <p:txBody>
          <a:bodyPr lIns="90569" rIns="90569"/>
          <a:lstStyle>
            <a:lvl1pPr algn="r">
              <a:defRPr sz="1818"/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27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685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7705" y="1627909"/>
            <a:ext cx="9135221" cy="42920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37705" y="340935"/>
            <a:ext cx="9135221" cy="81539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337705" y="862935"/>
            <a:ext cx="9135221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C01C3F6-BA8D-49F2-B1E8-FA9E4F2DD35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032217" y="45253"/>
            <a:ext cx="2621507" cy="59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0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7705" y="349077"/>
            <a:ext cx="9135221" cy="8153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37706" y="1628004"/>
            <a:ext cx="4537123" cy="4292023"/>
          </a:xfrm>
          <a:prstGeom prst="rect">
            <a:avLst/>
          </a:prstGeo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4946" y="1628004"/>
            <a:ext cx="4538687" cy="4292023"/>
          </a:xfrm>
          <a:prstGeom prst="rect">
            <a:avLst/>
          </a:prstGeom>
        </p:spPr>
        <p:txBody>
          <a:bodyPr/>
          <a:lstStyle>
            <a:lvl1pPr>
              <a:defRPr sz="2545"/>
            </a:lvl1pPr>
            <a:lvl2pPr>
              <a:defRPr sz="2182"/>
            </a:lvl2pPr>
            <a:lvl3pPr>
              <a:defRPr sz="1818"/>
            </a:lvl3pPr>
            <a:lvl4pPr>
              <a:defRPr sz="1636"/>
            </a:lvl4pPr>
            <a:lvl5pPr>
              <a:defRPr sz="1636"/>
            </a:lvl5pPr>
            <a:lvl6pPr>
              <a:defRPr sz="1636"/>
            </a:lvl6pPr>
            <a:lvl7pPr>
              <a:defRPr sz="1636"/>
            </a:lvl7pPr>
            <a:lvl8pPr>
              <a:defRPr sz="1636"/>
            </a:lvl8pPr>
            <a:lvl9pPr>
              <a:defRPr sz="1636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>
            <a:off x="337705" y="879235"/>
            <a:ext cx="9135221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84320C3-3C6B-4A3B-A10E-C298122E80C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154" y="25892"/>
            <a:ext cx="2624328" cy="588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33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7705" y="349083"/>
            <a:ext cx="9135221" cy="81539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337705" y="879235"/>
            <a:ext cx="9135221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430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Один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0472" y="260648"/>
            <a:ext cx="9505056" cy="504056"/>
          </a:xfrm>
        </p:spPr>
        <p:txBody>
          <a:bodyPr anchor="t">
            <a:normAutofit/>
          </a:bodyPr>
          <a:lstStyle>
            <a:lvl1pPr algn="l">
              <a:defRPr sz="3033" b="1">
                <a:solidFill>
                  <a:srgbClr val="0070C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10839" y="1484787"/>
            <a:ext cx="9494689" cy="4824535"/>
          </a:xfrm>
        </p:spPr>
        <p:txBody>
          <a:bodyPr/>
          <a:lstStyle>
            <a:lvl1pPr>
              <a:defRPr sz="2167"/>
            </a:lvl1pPr>
            <a:lvl2pPr>
              <a:defRPr sz="1950"/>
            </a:lvl2pPr>
            <a:lvl3pPr>
              <a:defRPr sz="1733"/>
            </a:lvl3pPr>
            <a:lvl4pPr>
              <a:defRPr sz="1517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>
          <a:xfrm>
            <a:off x="9325273" y="6492878"/>
            <a:ext cx="572666" cy="365125"/>
          </a:xfrm>
        </p:spPr>
        <p:txBody>
          <a:bodyPr/>
          <a:lstStyle/>
          <a:p>
            <a:fld id="{652D8708-404D-4C42-BD84-07A867FB7CE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1" hasCustomPrompt="1"/>
          </p:nvPr>
        </p:nvSpPr>
        <p:spPr>
          <a:xfrm>
            <a:off x="210839" y="764704"/>
            <a:ext cx="9494689" cy="504056"/>
          </a:xfrm>
        </p:spPr>
        <p:txBody>
          <a:bodyPr>
            <a:normAutofit/>
          </a:bodyPr>
          <a:lstStyle>
            <a:lvl1pPr marL="0" indent="0" algn="l">
              <a:buNone/>
              <a:defRPr sz="26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3027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37705" y="349083"/>
            <a:ext cx="9135221" cy="81539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337705" y="879235"/>
            <a:ext cx="9135221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777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337706" y="1628005"/>
            <a:ext cx="4537123" cy="20767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24946" y="1628005"/>
            <a:ext cx="4538687" cy="20767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337706" y="3843194"/>
            <a:ext cx="4537123" cy="20767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24946" y="3843194"/>
            <a:ext cx="4538687" cy="20767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337705" y="349083"/>
            <a:ext cx="9135221" cy="81539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 bwMode="auto">
          <a:xfrm>
            <a:off x="337705" y="879235"/>
            <a:ext cx="9135221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533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337705" y="1628004"/>
            <a:ext cx="9225901" cy="4292023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7705" y="349083"/>
            <a:ext cx="9135221" cy="81539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 bwMode="auto">
          <a:xfrm>
            <a:off x="337705" y="879235"/>
            <a:ext cx="9135221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37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37705" y="349083"/>
            <a:ext cx="9135221" cy="81539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 bwMode="auto">
          <a:xfrm>
            <a:off x="337705" y="879235"/>
            <a:ext cx="9135221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0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37705" y="349083"/>
            <a:ext cx="9135221" cy="81539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 bwMode="auto">
          <a:xfrm>
            <a:off x="337705" y="879235"/>
            <a:ext cx="9135221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0" y="6387777"/>
            <a:ext cx="564020" cy="386773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43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 Два объекта ГОРИЗОНТАЛЬ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0472" y="260648"/>
            <a:ext cx="9505056" cy="504056"/>
          </a:xfrm>
        </p:spPr>
        <p:txBody>
          <a:bodyPr anchor="t">
            <a:normAutofit/>
          </a:bodyPr>
          <a:lstStyle>
            <a:lvl1pPr algn="l">
              <a:defRPr sz="3033" b="1">
                <a:solidFill>
                  <a:srgbClr val="0070C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00473" y="1484784"/>
            <a:ext cx="9505056" cy="2448272"/>
          </a:xfrm>
        </p:spPr>
        <p:txBody>
          <a:bodyPr/>
          <a:lstStyle>
            <a:lvl1pPr>
              <a:defRPr sz="2167"/>
            </a:lvl1pPr>
            <a:lvl2pPr>
              <a:defRPr sz="1950"/>
            </a:lvl2pPr>
            <a:lvl3pPr>
              <a:defRPr sz="1733"/>
            </a:lvl3pPr>
            <a:lvl4pPr>
              <a:defRPr sz="1517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10841" y="4118047"/>
            <a:ext cx="9494689" cy="2448272"/>
          </a:xfrm>
        </p:spPr>
        <p:txBody>
          <a:bodyPr/>
          <a:lstStyle>
            <a:lvl1pPr>
              <a:defRPr sz="2167"/>
            </a:lvl1pPr>
            <a:lvl2pPr>
              <a:defRPr sz="1950"/>
            </a:lvl2pPr>
            <a:lvl3pPr>
              <a:defRPr sz="1733"/>
            </a:lvl3pPr>
            <a:lvl4pPr>
              <a:defRPr sz="1517"/>
            </a:lvl4pPr>
            <a:lvl5pPr>
              <a:defRPr sz="130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>
          <a:xfrm>
            <a:off x="9325273" y="6492878"/>
            <a:ext cx="572666" cy="365125"/>
          </a:xfrm>
        </p:spPr>
        <p:txBody>
          <a:bodyPr/>
          <a:lstStyle/>
          <a:p>
            <a:fld id="{652D8708-404D-4C42-BD84-07A867FB7CE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1" hasCustomPrompt="1"/>
          </p:nvPr>
        </p:nvSpPr>
        <p:spPr>
          <a:xfrm>
            <a:off x="210839" y="764704"/>
            <a:ext cx="9494689" cy="504056"/>
          </a:xfrm>
        </p:spPr>
        <p:txBody>
          <a:bodyPr>
            <a:normAutofit/>
          </a:bodyPr>
          <a:lstStyle>
            <a:lvl1pPr marL="0" indent="0" algn="l">
              <a:buNone/>
              <a:defRPr sz="2600" b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5867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42950" y="2130429"/>
            <a:ext cx="8420100" cy="1470025"/>
          </a:xfrm>
        </p:spPr>
        <p:txBody>
          <a:bodyPr>
            <a:normAutofit/>
          </a:bodyPr>
          <a:lstStyle>
            <a:lvl1pPr>
              <a:defRPr lang="ru-RU" sz="3033" b="1" kern="1200" dirty="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01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01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4"/>
            <a:ext cx="8420100" cy="1362075"/>
          </a:xfrm>
        </p:spPr>
        <p:txBody>
          <a:bodyPr anchor="t"/>
          <a:lstStyle>
            <a:lvl1pPr algn="l">
              <a:defRPr sz="4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29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0" y="1535113"/>
            <a:ext cx="4378591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0" y="2174875"/>
            <a:ext cx="4378591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85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211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5811095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031643" y="6356354"/>
            <a:ext cx="2311400" cy="365125"/>
          </a:xfrm>
          <a:prstGeom prst="rect">
            <a:avLst/>
          </a:prstGeom>
        </p:spPr>
        <p:txBody>
          <a:bodyPr/>
          <a:lstStyle/>
          <a:p>
            <a:fld id="{B9A5586D-E185-4F27-BFA7-00E3170FE6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941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20.xml"/><Relationship Id="rId15" Type="http://schemas.openxmlformats.org/officeDocument/2006/relationships/oleObject" Target="../embeddings/oleObject4.bin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4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4"/>
          </p:nvPr>
        </p:nvSpPr>
        <p:spPr>
          <a:xfrm>
            <a:off x="9333334" y="6492878"/>
            <a:ext cx="57266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2D8708-404D-4C42-BD84-07A867FB7CE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676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86" r:id="rId15"/>
  </p:sldLayoutIdLst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  <p:hf hdr="0" ftr="0" dt="0"/>
  <p:txStyles>
    <p:titleStyle>
      <a:lvl1pPr algn="ctr" defTabSz="990570" rtl="0" eaLnBrk="1" latinLnBrk="0" hangingPunct="1">
        <a:spcBef>
          <a:spcPct val="0"/>
        </a:spcBef>
        <a:buNone/>
        <a:defRPr sz="47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1464" indent="-371464" algn="l" defTabSz="990570" rtl="0" eaLnBrk="1" latinLnBrk="0" hangingPunct="1">
        <a:spcBef>
          <a:spcPct val="20000"/>
        </a:spcBef>
        <a:buFont typeface="Arial" pitchFamily="34" charset="0"/>
        <a:buChar char="•"/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04838" indent="-309553" algn="l" defTabSz="990570" rtl="0" eaLnBrk="1" latinLnBrk="0" hangingPunct="1">
        <a:spcBef>
          <a:spcPct val="20000"/>
        </a:spcBef>
        <a:buFont typeface="Arial" pitchFamily="34" charset="0"/>
        <a:buChar char="–"/>
        <a:defRPr sz="3033" kern="1200">
          <a:solidFill>
            <a:schemeClr val="tx1"/>
          </a:solidFill>
          <a:latin typeface="+mn-lt"/>
          <a:ea typeface="+mn-ea"/>
          <a:cs typeface="+mn-cs"/>
        </a:defRPr>
      </a:lvl2pPr>
      <a:lvl3pPr marL="1238212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33497" indent="-247642" algn="l" defTabSz="990570" rtl="0" eaLnBrk="1" latinLnBrk="0" hangingPunct="1">
        <a:spcBef>
          <a:spcPct val="20000"/>
        </a:spcBef>
        <a:buFont typeface="Arial" pitchFamily="34" charset="0"/>
        <a:buChar char="–"/>
        <a:defRPr sz="2167" kern="1200">
          <a:solidFill>
            <a:schemeClr val="tx1"/>
          </a:solidFill>
          <a:latin typeface="+mn-lt"/>
          <a:ea typeface="+mn-ea"/>
          <a:cs typeface="+mn-cs"/>
        </a:defRPr>
      </a:lvl4pPr>
      <a:lvl5pPr marL="2228781" indent="-247642" algn="l" defTabSz="990570" rtl="0" eaLnBrk="1" latinLnBrk="0" hangingPunct="1">
        <a:spcBef>
          <a:spcPct val="20000"/>
        </a:spcBef>
        <a:buFont typeface="Arial" pitchFamily="34" charset="0"/>
        <a:buChar char="»"/>
        <a:defRPr sz="2167" kern="1200">
          <a:solidFill>
            <a:schemeClr val="tx1"/>
          </a:solidFill>
          <a:latin typeface="+mn-lt"/>
          <a:ea typeface="+mn-ea"/>
          <a:cs typeface="+mn-cs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5">
          <a:fgClr>
            <a:schemeClr val="accent2">
              <a:lumMod val="7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97055602"/>
              </p:ext>
            </p:extLst>
          </p:nvPr>
        </p:nvGraphicFramePr>
        <p:xfrm>
          <a:off x="1564" y="1444"/>
          <a:ext cx="1563" cy="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64" y="1444"/>
                        <a:ext cx="1563" cy="14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Рисунок 32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8" b="3890"/>
          <a:stretch/>
        </p:blipFill>
        <p:spPr>
          <a:xfrm>
            <a:off x="7034" y="1165412"/>
            <a:ext cx="9898965" cy="5664065"/>
          </a:xfrm>
          <a:prstGeom prst="rect">
            <a:avLst/>
          </a:prstGeom>
        </p:spPr>
      </p:pic>
      <p:sp>
        <p:nvSpPr>
          <p:cNvPr id="1012749" name="PAGE NUMBER"/>
          <p:cNvSpPr>
            <a:spLocks noGrp="1" noChangeArrowheads="1"/>
          </p:cNvSpPr>
          <p:nvPr>
            <p:ph type="sldNum" sz="quarter" idx="4"/>
            <p:custDataLst>
              <p:tags r:id="rId13"/>
            </p:custDataLst>
          </p:nvPr>
        </p:nvSpPr>
        <p:spPr bwMode="black">
          <a:xfrm>
            <a:off x="7034" y="6382668"/>
            <a:ext cx="406496" cy="38677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000" b="0">
                <a:solidFill>
                  <a:schemeClr val="tx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defTabSz="831281" fontAlgn="base">
              <a:spcAft>
                <a:spcPct val="0"/>
              </a:spcAft>
              <a:defRPr/>
            </a:pPr>
            <a:r>
              <a:rPr lang="en-GB" altLang="zh-TW" dirty="0">
                <a:solidFill>
                  <a:srgbClr val="14446C"/>
                </a:solidFill>
              </a:rPr>
              <a:t> </a:t>
            </a:r>
            <a:fld id="{AC2CF52D-F9E0-495D-B83C-D554EBBABCB3}" type="slidenum">
              <a:rPr lang="en-GB" altLang="zh-TW" smtClean="0">
                <a:solidFill>
                  <a:srgbClr val="14446C"/>
                </a:solidFill>
              </a:rPr>
              <a:pPr defTabSz="831281" fontAlgn="base">
                <a:spcAft>
                  <a:spcPct val="0"/>
                </a:spcAft>
                <a:defRPr/>
              </a:pPr>
              <a:t>‹#›</a:t>
            </a:fld>
            <a:endParaRPr lang="en-GB" altLang="zh-TW" dirty="0">
              <a:solidFill>
                <a:srgbClr val="14446C"/>
              </a:solidFill>
            </a:endParaRPr>
          </a:p>
        </p:txBody>
      </p:sp>
      <p:grpSp>
        <p:nvGrpSpPr>
          <p:cNvPr id="1030" name="Group 97"/>
          <p:cNvGrpSpPr>
            <a:grpSpLocks/>
          </p:cNvGrpSpPr>
          <p:nvPr/>
        </p:nvGrpSpPr>
        <p:grpSpPr bwMode="auto">
          <a:xfrm>
            <a:off x="-1099104" y="344921"/>
            <a:ext cx="950576" cy="4469534"/>
            <a:chOff x="-703" y="239"/>
            <a:chExt cx="608" cy="3097"/>
          </a:xfrm>
        </p:grpSpPr>
        <p:sp>
          <p:nvSpPr>
            <p:cNvPr id="1035" name="LAYOUT HEADER"/>
            <p:cNvSpPr txBox="1">
              <a:spLocks noChangeArrowheads="1"/>
            </p:cNvSpPr>
            <p:nvPr userDrawn="1">
              <p:custDataLst>
                <p:tags r:id="rId14"/>
              </p:custDataLst>
            </p:nvPr>
          </p:nvSpPr>
          <p:spPr bwMode="auto">
            <a:xfrm>
              <a:off x="-703" y="239"/>
              <a:ext cx="599" cy="13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38100"/>
            <a:lstStyle>
              <a:lvl1pPr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1pPr>
              <a:lvl2pPr marL="742950" indent="-28575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2pPr>
              <a:lvl3pPr marL="11430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3pPr>
              <a:lvl4pPr marL="16002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4pPr>
              <a:lvl5pPr marL="20574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9pPr>
            </a:lstStyle>
            <a:p>
              <a:pPr marL="0" marR="0" lvl="0" indent="0" algn="l" defTabSz="83128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Arial Unicode MS" pitchFamily="34" charset="-128"/>
                  <a:cs typeface="Arial Unicode MS" pitchFamily="34" charset="-128"/>
                </a:rPr>
                <a:t>Colour palette</a:t>
              </a:r>
            </a:p>
          </p:txBody>
        </p:sp>
        <p:sp>
          <p:nvSpPr>
            <p:cNvPr id="1036" name="Rectangle 75"/>
            <p:cNvSpPr>
              <a:spLocks noChangeArrowheads="1"/>
            </p:cNvSpPr>
            <p:nvPr userDrawn="1"/>
          </p:nvSpPr>
          <p:spPr bwMode="gray">
            <a:xfrm rot="-5400000">
              <a:off x="-714" y="2329"/>
              <a:ext cx="275" cy="25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6</a:t>
              </a:r>
            </a:p>
          </p:txBody>
        </p:sp>
        <p:sp>
          <p:nvSpPr>
            <p:cNvPr id="1037" name="Rectangle 76"/>
            <p:cNvSpPr>
              <a:spLocks noChangeArrowheads="1"/>
            </p:cNvSpPr>
            <p:nvPr userDrawn="1"/>
          </p:nvSpPr>
          <p:spPr bwMode="gray">
            <a:xfrm rot="-5400000">
              <a:off x="-713" y="1212"/>
              <a:ext cx="274" cy="25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</p:txBody>
        </p:sp>
        <p:sp>
          <p:nvSpPr>
            <p:cNvPr id="1038" name="Rectangle 77"/>
            <p:cNvSpPr>
              <a:spLocks noChangeArrowheads="1"/>
            </p:cNvSpPr>
            <p:nvPr userDrawn="1"/>
          </p:nvSpPr>
          <p:spPr bwMode="gray">
            <a:xfrm rot="-5400000">
              <a:off x="-713" y="469"/>
              <a:ext cx="274" cy="2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3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08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76</a:t>
              </a:r>
            </a:p>
          </p:txBody>
        </p:sp>
        <p:sp>
          <p:nvSpPr>
            <p:cNvPr id="1039" name="Rectangle 78"/>
            <p:cNvSpPr>
              <a:spLocks noChangeArrowheads="1"/>
            </p:cNvSpPr>
            <p:nvPr userDrawn="1"/>
          </p:nvSpPr>
          <p:spPr bwMode="gray">
            <a:xfrm rot="-5400000">
              <a:off x="-714" y="2701"/>
              <a:ext cx="275" cy="254"/>
            </a:xfrm>
            <a:prstGeom prst="rect">
              <a:avLst/>
            </a:prstGeom>
            <a:solidFill>
              <a:srgbClr val="B5CEE5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8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9</a:t>
              </a:r>
            </a:p>
          </p:txBody>
        </p:sp>
        <p:sp>
          <p:nvSpPr>
            <p:cNvPr id="1040" name="Rectangle 79"/>
            <p:cNvSpPr>
              <a:spLocks noChangeArrowheads="1"/>
            </p:cNvSpPr>
            <p:nvPr userDrawn="1"/>
          </p:nvSpPr>
          <p:spPr bwMode="gray">
            <a:xfrm rot="-5400000">
              <a:off x="-713" y="839"/>
              <a:ext cx="275" cy="254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5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5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51</a:t>
              </a:r>
            </a:p>
          </p:txBody>
        </p:sp>
        <p:sp>
          <p:nvSpPr>
            <p:cNvPr id="1041" name="Rectangle 80"/>
            <p:cNvSpPr>
              <a:spLocks noChangeArrowheads="1"/>
            </p:cNvSpPr>
            <p:nvPr userDrawn="1"/>
          </p:nvSpPr>
          <p:spPr bwMode="gray">
            <a:xfrm rot="-5400000">
              <a:off x="-713" y="1956"/>
              <a:ext cx="274" cy="254"/>
            </a:xfrm>
            <a:prstGeom prst="rect">
              <a:avLst/>
            </a:prstGeom>
            <a:solidFill>
              <a:srgbClr val="D60500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1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0</a:t>
              </a:r>
            </a:p>
          </p:txBody>
        </p:sp>
        <p:sp>
          <p:nvSpPr>
            <p:cNvPr id="1042" name="Rectangle 81"/>
            <p:cNvSpPr>
              <a:spLocks noChangeArrowheads="1"/>
            </p:cNvSpPr>
            <p:nvPr userDrawn="1"/>
          </p:nvSpPr>
          <p:spPr bwMode="gray">
            <a:xfrm rot="-5400000">
              <a:off x="-713" y="3072"/>
              <a:ext cx="274" cy="254"/>
            </a:xfrm>
            <a:prstGeom prst="rect">
              <a:avLst/>
            </a:prstGeom>
            <a:solidFill>
              <a:srgbClr val="4981BF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73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2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91</a:t>
              </a:r>
            </a:p>
          </p:txBody>
        </p:sp>
        <p:sp>
          <p:nvSpPr>
            <p:cNvPr id="1043" name="Rectangle 82"/>
            <p:cNvSpPr>
              <a:spLocks noChangeArrowheads="1"/>
            </p:cNvSpPr>
            <p:nvPr userDrawn="1"/>
          </p:nvSpPr>
          <p:spPr bwMode="gray">
            <a:xfrm rot="-5400000">
              <a:off x="-713" y="1584"/>
              <a:ext cx="274" cy="25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68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08</a:t>
              </a:r>
            </a:p>
          </p:txBody>
        </p:sp>
        <p:sp>
          <p:nvSpPr>
            <p:cNvPr id="1044" name="Rectangle 83"/>
            <p:cNvSpPr>
              <a:spLocks noChangeArrowheads="1"/>
            </p:cNvSpPr>
            <p:nvPr userDrawn="1"/>
          </p:nvSpPr>
          <p:spPr bwMode="gray">
            <a:xfrm rot="-5400000">
              <a:off x="-360" y="2329"/>
              <a:ext cx="275" cy="254"/>
            </a:xfrm>
            <a:prstGeom prst="rect">
              <a:avLst/>
            </a:prstGeom>
            <a:solidFill>
              <a:srgbClr val="4095D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6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4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0</a:t>
              </a:r>
            </a:p>
          </p:txBody>
        </p:sp>
        <p:sp>
          <p:nvSpPr>
            <p:cNvPr id="1045" name="Rectangle 84"/>
            <p:cNvSpPr>
              <a:spLocks noChangeArrowheads="1"/>
            </p:cNvSpPr>
            <p:nvPr userDrawn="1"/>
          </p:nvSpPr>
          <p:spPr bwMode="gray">
            <a:xfrm rot="-5400000">
              <a:off x="-359" y="1212"/>
              <a:ext cx="274" cy="25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4</a:t>
              </a:r>
            </a:p>
          </p:txBody>
        </p:sp>
        <p:sp>
          <p:nvSpPr>
            <p:cNvPr id="1046" name="Rectangle 85"/>
            <p:cNvSpPr>
              <a:spLocks noChangeArrowheads="1"/>
            </p:cNvSpPr>
            <p:nvPr userDrawn="1"/>
          </p:nvSpPr>
          <p:spPr bwMode="gray">
            <a:xfrm rot="-5400000">
              <a:off x="-359" y="469"/>
              <a:ext cx="274" cy="2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1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37</a:t>
              </a:r>
            </a:p>
          </p:txBody>
        </p:sp>
        <p:sp>
          <p:nvSpPr>
            <p:cNvPr id="1047" name="Rectangle 86"/>
            <p:cNvSpPr>
              <a:spLocks noChangeArrowheads="1"/>
            </p:cNvSpPr>
            <p:nvPr userDrawn="1"/>
          </p:nvSpPr>
          <p:spPr bwMode="gray">
            <a:xfrm rot="-5400000">
              <a:off x="-360" y="2701"/>
              <a:ext cx="275" cy="254"/>
            </a:xfrm>
            <a:prstGeom prst="rect">
              <a:avLst/>
            </a:prstGeom>
            <a:solidFill>
              <a:srgbClr val="F8CDA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48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0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62</a:t>
              </a:r>
            </a:p>
          </p:txBody>
        </p:sp>
        <p:sp>
          <p:nvSpPr>
            <p:cNvPr id="1048" name="Rectangle 87"/>
            <p:cNvSpPr>
              <a:spLocks noChangeArrowheads="1"/>
            </p:cNvSpPr>
            <p:nvPr userDrawn="1"/>
          </p:nvSpPr>
          <p:spPr bwMode="gray">
            <a:xfrm rot="-5400000">
              <a:off x="-359" y="839"/>
              <a:ext cx="275" cy="25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40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4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48</a:t>
              </a:r>
            </a:p>
          </p:txBody>
        </p:sp>
        <p:sp>
          <p:nvSpPr>
            <p:cNvPr id="1049" name="Rectangle 88"/>
            <p:cNvSpPr>
              <a:spLocks noChangeArrowheads="1"/>
            </p:cNvSpPr>
            <p:nvPr userDrawn="1"/>
          </p:nvSpPr>
          <p:spPr bwMode="gray">
            <a:xfrm rot="-5400000">
              <a:off x="-359" y="1956"/>
              <a:ext cx="274" cy="254"/>
            </a:xfrm>
            <a:prstGeom prst="rect">
              <a:avLst/>
            </a:prstGeom>
            <a:solidFill>
              <a:srgbClr val="A6AFBE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66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7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90</a:t>
              </a:r>
            </a:p>
          </p:txBody>
        </p:sp>
        <p:sp>
          <p:nvSpPr>
            <p:cNvPr id="1050" name="Rectangle 89"/>
            <p:cNvSpPr>
              <a:spLocks noChangeArrowheads="1"/>
            </p:cNvSpPr>
            <p:nvPr userDrawn="1"/>
          </p:nvSpPr>
          <p:spPr bwMode="gray">
            <a:xfrm rot="-5400000">
              <a:off x="-359" y="3072"/>
              <a:ext cx="274" cy="254"/>
            </a:xfrm>
            <a:prstGeom prst="rect">
              <a:avLst/>
            </a:prstGeom>
            <a:solidFill>
              <a:srgbClr val="E18E8B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25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42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39</a:t>
              </a:r>
            </a:p>
          </p:txBody>
        </p:sp>
        <p:sp>
          <p:nvSpPr>
            <p:cNvPr id="1051" name="Rectangle 90"/>
            <p:cNvSpPr>
              <a:spLocks noChangeArrowheads="1"/>
            </p:cNvSpPr>
            <p:nvPr userDrawn="1"/>
          </p:nvSpPr>
          <p:spPr bwMode="gray">
            <a:xfrm rot="-5400000">
              <a:off x="-359" y="1584"/>
              <a:ext cx="274" cy="254"/>
            </a:xfrm>
            <a:prstGeom prst="rect">
              <a:avLst/>
            </a:prstGeom>
            <a:solidFill>
              <a:srgbClr val="8BAED6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39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174</a:t>
              </a:r>
            </a:p>
            <a:p>
              <a:pPr marL="0" marR="0" lvl="0" indent="0" algn="ctr" defTabSz="8312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27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Batang" pitchFamily="18" charset="-127"/>
                  <a:cs typeface="Arial"/>
                </a:rPr>
                <a:t>214</a:t>
              </a:r>
            </a:p>
          </p:txBody>
        </p:sp>
      </p:grpSp>
      <p:pic>
        <p:nvPicPr>
          <p:cNvPr id="34" name="Рисунок 33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41" b="88330"/>
          <a:stretch/>
        </p:blipFill>
        <p:spPr>
          <a:xfrm>
            <a:off x="7035" y="48894"/>
            <a:ext cx="9898965" cy="5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625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  <p:hf hdr="0" ftr="0" dt="0"/>
  <p:txStyles>
    <p:titleStyle>
      <a:lvl1pPr algn="l" defTabSz="903441" rtl="0" eaLnBrk="0" fontAlgn="base" hangingPunct="0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3441" rtl="0" eaLnBrk="0" fontAlgn="base" hangingPunct="0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2pPr>
      <a:lvl3pPr algn="l" defTabSz="903441" rtl="0" eaLnBrk="0" fontAlgn="base" hangingPunct="0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3pPr>
      <a:lvl4pPr algn="l" defTabSz="903441" rtl="0" eaLnBrk="0" fontAlgn="base" hangingPunct="0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4pPr>
      <a:lvl5pPr algn="l" defTabSz="903441" rtl="0" eaLnBrk="0" fontAlgn="base" hangingPunct="0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5pPr>
      <a:lvl6pPr marL="411723" algn="l" defTabSz="906365" rtl="0" fontAlgn="base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6pPr>
      <a:lvl7pPr marL="823428" algn="l" defTabSz="906365" rtl="0" fontAlgn="base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7pPr>
      <a:lvl8pPr marL="1235134" algn="l" defTabSz="906365" rtl="0" fontAlgn="base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8pPr>
      <a:lvl9pPr marL="1646849" algn="l" defTabSz="906365" rtl="0" fontAlgn="base">
        <a:spcBef>
          <a:spcPct val="0"/>
        </a:spcBef>
        <a:spcAft>
          <a:spcPct val="0"/>
        </a:spcAft>
        <a:defRPr sz="2545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9pPr>
    </p:titleStyle>
    <p:bodyStyle>
      <a:lvl1pPr marL="305958" indent="-305958" algn="l" rtl="0" eaLnBrk="0" fontAlgn="base" hangingPunct="0">
        <a:spcBef>
          <a:spcPct val="20000"/>
        </a:spcBef>
        <a:spcAft>
          <a:spcPct val="20000"/>
        </a:spcAft>
        <a:buClr>
          <a:srgbClr val="FF0000"/>
        </a:buClr>
        <a:buFont typeface="Arial" charset="0"/>
        <a:buChar char="•"/>
        <a:defRPr sz="1091" b="1">
          <a:solidFill>
            <a:schemeClr val="tx2"/>
          </a:solidFill>
          <a:latin typeface="+mn-lt"/>
          <a:ea typeface="+mn-ea"/>
          <a:cs typeface="+mn-cs"/>
        </a:defRPr>
      </a:lvl1pPr>
      <a:lvl2pPr marL="225139" indent="-223696" algn="l" rtl="0" eaLnBrk="0" fontAlgn="base" hangingPunct="0">
        <a:spcBef>
          <a:spcPct val="20000"/>
        </a:spcBef>
        <a:spcAft>
          <a:spcPct val="20000"/>
        </a:spcAft>
        <a:buClr>
          <a:schemeClr val="tx2"/>
        </a:buClr>
        <a:buFont typeface="Wingdings" pitchFamily="2" charset="2"/>
        <a:buChar char="n"/>
        <a:defRPr sz="1091">
          <a:solidFill>
            <a:schemeClr val="tx1"/>
          </a:solidFill>
          <a:latin typeface="+mn-lt"/>
          <a:ea typeface="Arial Unicode MS" pitchFamily="34" charset="-128"/>
          <a:cs typeface="+mn-cs"/>
        </a:defRPr>
      </a:lvl2pPr>
      <a:lvl3pPr marL="473368" indent="-242457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SzPct val="150000"/>
        <a:buFont typeface="Symbol" pitchFamily="18" charset="2"/>
        <a:buChar char="-"/>
        <a:defRPr sz="1091">
          <a:solidFill>
            <a:schemeClr val="tx1"/>
          </a:solidFill>
          <a:latin typeface="+mn-lt"/>
          <a:ea typeface="+mn-ea"/>
          <a:cs typeface="+mn-cs"/>
        </a:defRPr>
      </a:lvl3pPr>
      <a:lvl4pPr marL="712939" indent="-233798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091">
          <a:solidFill>
            <a:schemeClr val="tx1"/>
          </a:solidFill>
          <a:latin typeface="+mn-lt"/>
          <a:ea typeface="+mn-ea"/>
          <a:cs typeface="+mn-cs"/>
        </a:defRPr>
      </a:lvl4pPr>
      <a:lvl5pPr marL="952510" indent="-235241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091">
          <a:solidFill>
            <a:schemeClr val="tx1"/>
          </a:solidFill>
          <a:latin typeface="+mn-lt"/>
          <a:ea typeface="+mn-ea"/>
          <a:cs typeface="+mn-cs"/>
        </a:defRPr>
      </a:lvl5pPr>
      <a:lvl6pPr marL="1366653" indent="-238734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091">
          <a:solidFill>
            <a:schemeClr val="tx1"/>
          </a:solidFill>
          <a:latin typeface="+mn-lt"/>
          <a:ea typeface="+mn-ea"/>
          <a:cs typeface="+mn-cs"/>
        </a:defRPr>
      </a:lvl6pPr>
      <a:lvl7pPr marL="1778351" indent="-238734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091">
          <a:solidFill>
            <a:schemeClr val="tx1"/>
          </a:solidFill>
          <a:latin typeface="+mn-lt"/>
          <a:ea typeface="+mn-ea"/>
          <a:cs typeface="+mn-cs"/>
        </a:defRPr>
      </a:lvl7pPr>
      <a:lvl8pPr marL="2190081" indent="-238734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091">
          <a:solidFill>
            <a:schemeClr val="tx1"/>
          </a:solidFill>
          <a:latin typeface="+mn-lt"/>
          <a:ea typeface="+mn-ea"/>
          <a:cs typeface="+mn-cs"/>
        </a:defRPr>
      </a:lvl8pPr>
      <a:lvl9pPr marL="2601801" indent="-238734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091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1pPr>
      <a:lvl2pPr marL="411723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2pPr>
      <a:lvl3pPr marL="823428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235134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4pPr>
      <a:lvl5pPr marL="1646849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5pPr>
      <a:lvl6pPr marL="2058556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6pPr>
      <a:lvl7pPr marL="2470263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7pPr>
      <a:lvl8pPr marL="2881974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8pPr>
      <a:lvl9pPr marL="3293695" algn="l" defTabSz="823428" rtl="0" eaLnBrk="1" latinLnBrk="0" hangingPunct="1">
        <a:defRPr sz="16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diagramData" Target="../diagrams/data13.xml"/><Relationship Id="rId7" Type="http://schemas.microsoft.com/office/2007/relationships/diagramDrawing" Target="../diagrams/drawing1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3.xml"/><Relationship Id="rId11" Type="http://schemas.openxmlformats.org/officeDocument/2006/relationships/image" Target="../media/image13.svg"/><Relationship Id="rId5" Type="http://schemas.openxmlformats.org/officeDocument/2006/relationships/diagramQuickStyle" Target="../diagrams/quickStyle13.xml"/><Relationship Id="rId10" Type="http://schemas.openxmlformats.org/officeDocument/2006/relationships/image" Target="../media/image12.png"/><Relationship Id="rId4" Type="http://schemas.openxmlformats.org/officeDocument/2006/relationships/diagramLayout" Target="../diagrams/layout13.xml"/><Relationship Id="rId9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6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10.emf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chart" Target="../charts/chart1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.xml"/><Relationship Id="rId13" Type="http://schemas.openxmlformats.org/officeDocument/2006/relationships/diagramData" Target="../diagrams/data10.xml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12" Type="http://schemas.microsoft.com/office/2007/relationships/diagramDrawing" Target="../diagrams/drawing9.xml"/><Relationship Id="rId17" Type="http://schemas.microsoft.com/office/2007/relationships/diagramDrawing" Target="../diagrams/drawing10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10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8.xml"/><Relationship Id="rId11" Type="http://schemas.openxmlformats.org/officeDocument/2006/relationships/diagramColors" Target="../diagrams/colors9.xml"/><Relationship Id="rId5" Type="http://schemas.openxmlformats.org/officeDocument/2006/relationships/diagramQuickStyle" Target="../diagrams/quickStyle8.xml"/><Relationship Id="rId15" Type="http://schemas.openxmlformats.org/officeDocument/2006/relationships/diagramQuickStyle" Target="../diagrams/quickStyle10.xml"/><Relationship Id="rId10" Type="http://schemas.openxmlformats.org/officeDocument/2006/relationships/diagramQuickStyle" Target="../diagrams/quickStyle9.xml"/><Relationship Id="rId4" Type="http://schemas.openxmlformats.org/officeDocument/2006/relationships/diagramLayout" Target="../diagrams/layout8.xml"/><Relationship Id="rId9" Type="http://schemas.openxmlformats.org/officeDocument/2006/relationships/diagramLayout" Target="../diagrams/layout9.xml"/><Relationship Id="rId14" Type="http://schemas.openxmlformats.org/officeDocument/2006/relationships/diagramLayout" Target="../diagrams/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1.xml"/><Relationship Id="rId13" Type="http://schemas.openxmlformats.org/officeDocument/2006/relationships/diagramColors" Target="../diagrams/colors12.xml"/><Relationship Id="rId3" Type="http://schemas.openxmlformats.org/officeDocument/2006/relationships/image" Target="../media/image11.png"/><Relationship Id="rId7" Type="http://schemas.openxmlformats.org/officeDocument/2006/relationships/diagramQuickStyle" Target="../diagrams/quickStyle11.xml"/><Relationship Id="rId12" Type="http://schemas.openxmlformats.org/officeDocument/2006/relationships/diagramQuickStyle" Target="../diagrams/quickStyle1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6" Type="http://schemas.openxmlformats.org/officeDocument/2006/relationships/diagramLayout" Target="../diagrams/layout11.xml"/><Relationship Id="rId11" Type="http://schemas.openxmlformats.org/officeDocument/2006/relationships/diagramLayout" Target="../diagrams/layout12.xml"/><Relationship Id="rId5" Type="http://schemas.openxmlformats.org/officeDocument/2006/relationships/diagramData" Target="../diagrams/data11.xml"/><Relationship Id="rId10" Type="http://schemas.openxmlformats.org/officeDocument/2006/relationships/diagramData" Target="../diagrams/data12.xml"/><Relationship Id="rId4" Type="http://schemas.microsoft.com/office/2007/relationships/hdphoto" Target="../media/hdphoto1.wdp"/><Relationship Id="rId9" Type="http://schemas.microsoft.com/office/2007/relationships/diagramDrawing" Target="../diagrams/drawing11.xml"/><Relationship Id="rId14" Type="http://schemas.microsoft.com/office/2007/relationships/diagramDrawing" Target="../diagrams/drawin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B06EC4-1553-4EEC-8AFC-5F4512671736}" type="slidenum">
              <a:rPr lang="ru-RU" smtClean="0"/>
              <a:pPr/>
              <a:t>1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011" y="4690329"/>
            <a:ext cx="8755458" cy="135952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67531" y="614464"/>
            <a:ext cx="9009606" cy="57861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i="1" dirty="0">
              <a:solidFill>
                <a:schemeClr val="accent3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i="1" dirty="0">
              <a:solidFill>
                <a:schemeClr val="accent3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i="1" dirty="0">
                <a:solidFill>
                  <a:srgbClr val="FF000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щественные обсуждения по объекту: </a:t>
            </a:r>
          </a:p>
          <a:p>
            <a:endParaRPr lang="ru-RU" i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endParaRPr lang="ru-RU" i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i="1" cap="all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троительство трубопроводов транспортировки стоков системы водоотведения Филиала «Азот» </a:t>
            </a:r>
          </a:p>
          <a:p>
            <a:pPr algn="ctr"/>
            <a:r>
              <a:rPr lang="ru-RU" sz="2800" b="1" i="1" cap="all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О «ОХК «УРАЛХИМ» от ГНС до существующих выпусков станции перекачки промышленных стоков</a:t>
            </a:r>
            <a:br>
              <a:rPr lang="ru-RU" sz="2800" b="1" i="1" dirty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endParaRPr lang="ru-RU" sz="1600" b="1" i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endParaRPr lang="ru-RU" sz="1600" b="1" i="1" dirty="0">
              <a:solidFill>
                <a:schemeClr val="accent3">
                  <a:lumMod val="75000"/>
                </a:schemeClr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600" b="1" i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естонахождение объекта: РФ, Пермский край, г. Березники, территория промышленной площадки филиала «Азот» АО «ОХК «УРАЛХИМ» </a:t>
            </a:r>
          </a:p>
          <a:p>
            <a:endParaRPr lang="ru-RU" sz="1600" b="1" i="1" dirty="0"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r>
              <a:rPr lang="ru-RU" sz="1600" b="1" i="1" dirty="0"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Заказчик: Филиал АО «ОХК «УРАЛХИМ» </a:t>
            </a:r>
          </a:p>
          <a:p>
            <a:endParaRPr lang="ru-RU" sz="1600" b="1" i="1" dirty="0">
              <a:solidFill>
                <a:schemeClr val="accent3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1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EE50815F-B181-4F79-8657-F29F74F32705}"/>
              </a:ext>
            </a:extLst>
          </p:cNvPr>
          <p:cNvCxnSpPr/>
          <p:nvPr/>
        </p:nvCxnSpPr>
        <p:spPr bwMode="auto">
          <a:xfrm>
            <a:off x="7634796" y="5042517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0" y="6354526"/>
            <a:ext cx="564020" cy="386773"/>
          </a:xfrm>
        </p:spPr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10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graphicFrame>
        <p:nvGraphicFramePr>
          <p:cNvPr id="20" name="Схема 19">
            <a:extLst>
              <a:ext uri="{FF2B5EF4-FFF2-40B4-BE49-F238E27FC236}">
                <a16:creationId xmlns:a16="http://schemas.microsoft.com/office/drawing/2014/main" id="{917AA525-5189-4513-B91F-BFBFD8AD3EC9}"/>
              </a:ext>
            </a:extLst>
          </p:cNvPr>
          <p:cNvGraphicFramePr/>
          <p:nvPr/>
        </p:nvGraphicFramePr>
        <p:xfrm>
          <a:off x="5835650" y="1878919"/>
          <a:ext cx="2941222" cy="3893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542F5158-3EC2-4AA4-8640-0D858A49E8DF}"/>
              </a:ext>
            </a:extLst>
          </p:cNvPr>
          <p:cNvCxnSpPr/>
          <p:nvPr/>
        </p:nvCxnSpPr>
        <p:spPr bwMode="auto">
          <a:xfrm>
            <a:off x="8887487" y="3755254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graphicFrame>
        <p:nvGraphicFramePr>
          <p:cNvPr id="21" name="Таблица 8">
            <a:extLst>
              <a:ext uri="{FF2B5EF4-FFF2-40B4-BE49-F238E27FC236}">
                <a16:creationId xmlns:a16="http://schemas.microsoft.com/office/drawing/2014/main" id="{9E4CCCFF-34FB-4B36-8BA5-9F69386424BB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2946004205"/>
              </p:ext>
            </p:extLst>
          </p:nvPr>
        </p:nvGraphicFramePr>
        <p:xfrm>
          <a:off x="338138" y="1628775"/>
          <a:ext cx="4537076" cy="20415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4269">
                  <a:extLst>
                    <a:ext uri="{9D8B030D-6E8A-4147-A177-3AD203B41FA5}">
                      <a16:colId xmlns:a16="http://schemas.microsoft.com/office/drawing/2014/main" val="1242283145"/>
                    </a:ext>
                  </a:extLst>
                </a:gridCol>
                <a:gridCol w="1134269">
                  <a:extLst>
                    <a:ext uri="{9D8B030D-6E8A-4147-A177-3AD203B41FA5}">
                      <a16:colId xmlns:a16="http://schemas.microsoft.com/office/drawing/2014/main" val="108119860"/>
                    </a:ext>
                  </a:extLst>
                </a:gridCol>
                <a:gridCol w="1134269">
                  <a:extLst>
                    <a:ext uri="{9D8B030D-6E8A-4147-A177-3AD203B41FA5}">
                      <a16:colId xmlns:a16="http://schemas.microsoft.com/office/drawing/2014/main" val="3304060967"/>
                    </a:ext>
                  </a:extLst>
                </a:gridCol>
                <a:gridCol w="1134269">
                  <a:extLst>
                    <a:ext uri="{9D8B030D-6E8A-4147-A177-3AD203B41FA5}">
                      <a16:colId xmlns:a16="http://schemas.microsoft.com/office/drawing/2014/main" val="4130407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 опасности отход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,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/пери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тилизация,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/пери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мещение,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/период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7410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4751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 </a:t>
                      </a: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37,00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7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96,24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319227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 </a:t>
                      </a:r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,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,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0595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: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92,6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530,8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96,2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3577755"/>
                  </a:ext>
                </a:extLst>
              </a:tr>
            </a:tbl>
          </a:graphicData>
        </a:graphic>
      </p:graphicFrame>
      <p:graphicFrame>
        <p:nvGraphicFramePr>
          <p:cNvPr id="23" name="Таблица 8">
            <a:extLst>
              <a:ext uri="{FF2B5EF4-FFF2-40B4-BE49-F238E27FC236}">
                <a16:creationId xmlns:a16="http://schemas.microsoft.com/office/drawing/2014/main" id="{A522122E-3E59-42B7-9B71-E2CDEF4443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8621053"/>
              </p:ext>
            </p:extLst>
          </p:nvPr>
        </p:nvGraphicFramePr>
        <p:xfrm>
          <a:off x="5026557" y="1628775"/>
          <a:ext cx="4537076" cy="20415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4269">
                  <a:extLst>
                    <a:ext uri="{9D8B030D-6E8A-4147-A177-3AD203B41FA5}">
                      <a16:colId xmlns:a16="http://schemas.microsoft.com/office/drawing/2014/main" val="1242283145"/>
                    </a:ext>
                  </a:extLst>
                </a:gridCol>
                <a:gridCol w="1134269">
                  <a:extLst>
                    <a:ext uri="{9D8B030D-6E8A-4147-A177-3AD203B41FA5}">
                      <a16:colId xmlns:a16="http://schemas.microsoft.com/office/drawing/2014/main" val="108119860"/>
                    </a:ext>
                  </a:extLst>
                </a:gridCol>
                <a:gridCol w="1134269">
                  <a:extLst>
                    <a:ext uri="{9D8B030D-6E8A-4147-A177-3AD203B41FA5}">
                      <a16:colId xmlns:a16="http://schemas.microsoft.com/office/drawing/2014/main" val="3304060967"/>
                    </a:ext>
                  </a:extLst>
                </a:gridCol>
                <a:gridCol w="1134269">
                  <a:extLst>
                    <a:ext uri="{9D8B030D-6E8A-4147-A177-3AD203B41FA5}">
                      <a16:colId xmlns:a16="http://schemas.microsoft.com/office/drawing/2014/main" val="41304071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 опасности отход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, </a:t>
                      </a:r>
                    </a:p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/пери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тилизация,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/пери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мещение,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/период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374104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947516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,1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86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319227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ласс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,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,16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0595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того: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,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,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2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88643383"/>
                  </a:ext>
                </a:extLst>
              </a:tr>
            </a:tbl>
          </a:graphicData>
        </a:graphic>
      </p:graphicFrame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4535687F-B60B-41D4-B9EA-6C8C01399134}"/>
              </a:ext>
            </a:extLst>
          </p:cNvPr>
          <p:cNvSpPr/>
          <p:nvPr/>
        </p:nvSpPr>
        <p:spPr>
          <a:xfrm>
            <a:off x="982307" y="1144236"/>
            <a:ext cx="91352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09230"/>
                </a:solidFill>
                <a:latin typeface="ArialMT"/>
              </a:rPr>
              <a:t>Передача всех отходов специализированным организациям</a:t>
            </a:r>
            <a:endParaRPr lang="ru-RU" b="1" dirty="0">
              <a:solidFill>
                <a:srgbClr val="F09230"/>
              </a:solidFill>
            </a:endParaRPr>
          </a:p>
        </p:txBody>
      </p:sp>
      <p:sp>
        <p:nvSpPr>
          <p:cNvPr id="30" name="Заголовок 2">
            <a:extLst>
              <a:ext uri="{FF2B5EF4-FFF2-40B4-BE49-F238E27FC236}">
                <a16:creationId xmlns:a16="http://schemas.microsoft.com/office/drawing/2014/main" id="{F9946136-2851-4D1E-AB34-689998E15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705" y="349083"/>
            <a:ext cx="9135221" cy="815398"/>
          </a:xfrm>
        </p:spPr>
        <p:txBody>
          <a:bodyPr/>
          <a:lstStyle/>
          <a:p>
            <a:r>
              <a:rPr lang="ru-RU" sz="2000" dirty="0"/>
              <a:t>Воздействие при обращении с отходами</a:t>
            </a:r>
          </a:p>
        </p:txBody>
      </p:sp>
      <p:graphicFrame>
        <p:nvGraphicFramePr>
          <p:cNvPr id="32" name="Объект 21">
            <a:extLst>
              <a:ext uri="{FF2B5EF4-FFF2-40B4-BE49-F238E27FC236}">
                <a16:creationId xmlns:a16="http://schemas.microsoft.com/office/drawing/2014/main" id="{C9A9BC07-9E57-4E68-8324-2256031714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526148"/>
              </p:ext>
            </p:extLst>
          </p:nvPr>
        </p:nvGraphicFramePr>
        <p:xfrm>
          <a:off x="336552" y="3755254"/>
          <a:ext cx="4538662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4" name="Объект 21">
            <a:extLst>
              <a:ext uri="{FF2B5EF4-FFF2-40B4-BE49-F238E27FC236}">
                <a16:creationId xmlns:a16="http://schemas.microsoft.com/office/drawing/2014/main" id="{9A42EB84-1607-44DD-B83B-3D6CB00D54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8870815"/>
              </p:ext>
            </p:extLst>
          </p:nvPr>
        </p:nvGraphicFramePr>
        <p:xfrm>
          <a:off x="5026557" y="3763754"/>
          <a:ext cx="4538662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EF0CE6E1-7B8E-4702-BCD2-BE161B064992}"/>
              </a:ext>
            </a:extLst>
          </p:cNvPr>
          <p:cNvSpPr/>
          <p:nvPr/>
        </p:nvSpPr>
        <p:spPr>
          <a:xfrm>
            <a:off x="368100" y="1002902"/>
            <a:ext cx="540000" cy="625873"/>
          </a:xfrm>
          <a:prstGeom prst="roundRect">
            <a:avLst>
              <a:gd name="adj" fmla="val 10000"/>
            </a:avLst>
          </a:prstGeom>
          <a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>
              <a:fillRect l="-2000" r="-2000"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186614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/>
    </mc:Choice>
    <mc:Fallback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96B1E8-2BA9-4631-9646-EF999A34CD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11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E18F6719-7459-4504-AD54-35C88BF71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Мероприятия по охране окружающей сред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E2E83EF-C353-4D81-91A7-51DCAA009A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5051" y="1282988"/>
            <a:ext cx="9415895" cy="4292023"/>
          </a:xfrm>
        </p:spPr>
        <p:txBody>
          <a:bodyPr/>
          <a:lstStyle/>
          <a:p>
            <a:r>
              <a:rPr lang="ru-RU" sz="1600" b="0" dirty="0"/>
              <a:t>Механическая очистка сточных вод в пруде-накопителе</a:t>
            </a:r>
          </a:p>
          <a:p>
            <a:r>
              <a:rPr lang="ru-RU" sz="1600" b="0" dirty="0"/>
              <a:t>Устройство для сбора нефтепродуктов с поверхности воды в дамбе пруда-накопителя</a:t>
            </a:r>
          </a:p>
          <a:p>
            <a:r>
              <a:rPr lang="ru-RU" sz="1600" b="0" dirty="0"/>
              <a:t>Устройство противофильтрационного экрана пруда-накопителя</a:t>
            </a:r>
          </a:p>
          <a:p>
            <a:r>
              <a:rPr lang="ru-RU" sz="1600" b="0" dirty="0"/>
              <a:t>Контроль и геодезические наблюдения за осадками гребня дамбы</a:t>
            </a:r>
          </a:p>
          <a:p>
            <a:r>
              <a:rPr lang="ru-RU" sz="1600" b="0" dirty="0"/>
              <a:t>Мониторинг ГТС</a:t>
            </a:r>
          </a:p>
          <a:p>
            <a:r>
              <a:rPr lang="ru-RU" sz="1600" b="0" dirty="0"/>
              <a:t>Строительство локальных очистных сооружений поверхностного стока</a:t>
            </a:r>
          </a:p>
          <a:p>
            <a:r>
              <a:rPr lang="ru-RU" sz="1600" b="0" dirty="0"/>
              <a:t>Устройство обводного канала на период строительства пруда-накопителя</a:t>
            </a:r>
          </a:p>
          <a:p>
            <a:r>
              <a:rPr lang="ru-RU" sz="1600" b="0" dirty="0"/>
              <a:t>Строительство трубопроводов методом ГНБ</a:t>
            </a:r>
          </a:p>
          <a:p>
            <a:r>
              <a:rPr lang="ru-RU" sz="1600" b="0" dirty="0"/>
              <a:t>Передача отходов специализированным организациям для утилизации или размещения</a:t>
            </a:r>
          </a:p>
          <a:p>
            <a:r>
              <a:rPr lang="ru-RU" sz="1600" b="0" dirty="0"/>
              <a:t>Благоустройство нарушенной территории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43038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96B1E8-2BA9-4631-9646-EF999A34CD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12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E18F6719-7459-4504-AD54-35C88BF71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Заключение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794E5E89-2063-48D2-9E5B-ACED8CCD6F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7682235"/>
              </p:ext>
            </p:extLst>
          </p:nvPr>
        </p:nvGraphicFramePr>
        <p:xfrm>
          <a:off x="261911" y="1172958"/>
          <a:ext cx="9382176" cy="44390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69259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87550" y="1992796"/>
            <a:ext cx="8730900" cy="2224365"/>
          </a:xfrm>
        </p:spPr>
        <p:txBody>
          <a:bodyPr/>
          <a:lstStyle/>
          <a:p>
            <a:pPr algn="ctr"/>
            <a:r>
              <a:rPr lang="ru-RU" sz="3000" i="1" dirty="0">
                <a:solidFill>
                  <a:srgbClr val="14446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осим Вас </a:t>
            </a:r>
            <a:br>
              <a:rPr lang="ru-RU" sz="3000" i="1" dirty="0">
                <a:solidFill>
                  <a:srgbClr val="14446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3000" i="1" dirty="0">
                <a:solidFill>
                  <a:srgbClr val="14446C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оддержать реализацию проекта!</a:t>
            </a:r>
            <a:br>
              <a:rPr lang="ru-RU" sz="3000" i="1" cap="all" dirty="0">
                <a:solidFill>
                  <a:srgbClr val="236CB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br>
              <a:rPr lang="ru-RU" sz="3000" i="1" cap="all" dirty="0">
                <a:solidFill>
                  <a:srgbClr val="236CB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2000" i="1" cap="all" dirty="0">
                <a:solidFill>
                  <a:srgbClr val="236CB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троительство трубопроводов транспортировки стоков системы водоотведения Филиала «Азот» </a:t>
            </a:r>
            <a:br>
              <a:rPr lang="ru-RU" sz="2000" i="1" cap="all" dirty="0">
                <a:solidFill>
                  <a:srgbClr val="236CB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2000" i="1" cap="all" dirty="0">
                <a:solidFill>
                  <a:srgbClr val="236CB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О «ОХК «УРАЛХИМ» от ГНС до существующих выпусков станции перекачки промышленных стоков</a:t>
            </a:r>
            <a:endParaRPr lang="ru-RU" sz="2000" b="0" dirty="0">
              <a:solidFill>
                <a:srgbClr val="236CB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13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1CEE65A-692C-43EF-B9AE-357E22A20920}"/>
              </a:ext>
            </a:extLst>
          </p:cNvPr>
          <p:cNvSpPr/>
          <p:nvPr/>
        </p:nvSpPr>
        <p:spPr>
          <a:xfrm>
            <a:off x="7039624" y="915384"/>
            <a:ext cx="300841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sz="1000" dirty="0"/>
              <a:t>г. Пермь, ул. Максима Горького, 34, оф. 201</a:t>
            </a:r>
            <a:r>
              <a:rPr lang="en-US" sz="1000" dirty="0"/>
              <a:t>/3</a:t>
            </a:r>
            <a:r>
              <a:rPr lang="ru-RU" sz="1000" dirty="0"/>
              <a:t> </a:t>
            </a:r>
          </a:p>
          <a:p>
            <a:pPr fontAlgn="t"/>
            <a:r>
              <a:rPr lang="ru-RU" sz="1000" dirty="0"/>
              <a:t>тел.</a:t>
            </a:r>
            <a:r>
              <a:rPr lang="en-US" sz="1000" dirty="0"/>
              <a:t> 8 (342) 299-99-41</a:t>
            </a:r>
            <a:endParaRPr lang="ru-RU" sz="1000" dirty="0"/>
          </a:p>
          <a:p>
            <a:pPr fontAlgn="t"/>
            <a:r>
              <a:rPr lang="en-US" sz="1000" dirty="0"/>
              <a:t>e-mail</a:t>
            </a:r>
            <a:r>
              <a:rPr lang="ru-RU" sz="1000" dirty="0"/>
              <a:t>:</a:t>
            </a:r>
            <a:r>
              <a:rPr lang="en-US" sz="1000" dirty="0"/>
              <a:t> perm@kairoseng.ru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46980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5B6203E0-DAF0-4729-87BB-1AF2F06DF1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Организация </a:t>
            </a:r>
            <a:r>
              <a:rPr lang="ru-RU" sz="2000" dirty="0">
                <a:solidFill>
                  <a:srgbClr val="14446C"/>
                </a:solidFill>
              </a:rPr>
              <a:t>общественного</a:t>
            </a:r>
            <a:r>
              <a:rPr lang="ru-RU" sz="2000" dirty="0"/>
              <a:t> обсуждения</a:t>
            </a:r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:a16="http://schemas.microsoft.com/office/drawing/2014/main" id="{39737188-034F-48B8-AA94-ACFDABAC314E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123098419"/>
              </p:ext>
            </p:extLst>
          </p:nvPr>
        </p:nvGraphicFramePr>
        <p:xfrm>
          <a:off x="2716671" y="1178803"/>
          <a:ext cx="7189329" cy="51882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5851347-4CA3-4F31-9A1D-33BCA1C763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2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1092ADC-2AF1-4C10-9DDE-B4D233C4132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28" r="-424" b="31696"/>
          <a:stretch/>
        </p:blipFill>
        <p:spPr>
          <a:xfrm>
            <a:off x="385389" y="2698445"/>
            <a:ext cx="1881521" cy="61129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3276D55-16F2-46A1-A4BB-563D69785EB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405" y="4690443"/>
            <a:ext cx="2051562" cy="46985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A7E99B7-70C3-4E93-876F-BB4743D72FE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852" y="1487002"/>
            <a:ext cx="2244423" cy="45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19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EE50815F-B181-4F79-8657-F29F74F32705}"/>
              </a:ext>
            </a:extLst>
          </p:cNvPr>
          <p:cNvCxnSpPr/>
          <p:nvPr/>
        </p:nvCxnSpPr>
        <p:spPr bwMode="auto">
          <a:xfrm>
            <a:off x="7634796" y="5042517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0" y="6354526"/>
            <a:ext cx="564020" cy="386773"/>
          </a:xfrm>
        </p:spPr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3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E60039D7-ED37-4630-81AE-D23018D3A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Цель намечаемой хозяйственной деятельност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6E80533-EA20-4724-891C-DBE854A82E05}"/>
              </a:ext>
            </a:extLst>
          </p:cNvPr>
          <p:cNvSpPr/>
          <p:nvPr/>
        </p:nvSpPr>
        <p:spPr>
          <a:xfrm>
            <a:off x="282010" y="1232198"/>
            <a:ext cx="92369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D60500"/>
                </a:solidFill>
              </a:rPr>
              <a:t>Транспортировка стоков системы водоотведения Филиала «Азот» АО «ОХК «УРАЛХИМ» от ГНС до существующих выпусков станции перекачки промышленных стоков</a:t>
            </a:r>
            <a:endParaRPr lang="ru-RU" sz="1600" b="1" dirty="0">
              <a:solidFill>
                <a:srgbClr val="D605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id="{82B6C8BF-CAF9-40A9-B282-79AF30F53F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3684197"/>
              </p:ext>
            </p:extLst>
          </p:nvPr>
        </p:nvGraphicFramePr>
        <p:xfrm>
          <a:off x="0" y="2230186"/>
          <a:ext cx="5305425" cy="4693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542F5158-3EC2-4AA4-8640-0D858A49E8DF}"/>
              </a:ext>
            </a:extLst>
          </p:cNvPr>
          <p:cNvCxnSpPr/>
          <p:nvPr/>
        </p:nvCxnSpPr>
        <p:spPr bwMode="auto">
          <a:xfrm>
            <a:off x="8887487" y="3755254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BE39A8D5-303B-4237-8142-1F8AA2F20A93}"/>
              </a:ext>
            </a:extLst>
          </p:cNvPr>
          <p:cNvSpPr/>
          <p:nvPr/>
        </p:nvSpPr>
        <p:spPr>
          <a:xfrm>
            <a:off x="4947027" y="2063084"/>
            <a:ext cx="41104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236CB0"/>
                </a:solidFill>
              </a:rPr>
              <a:t>Продолжительность строительства:</a:t>
            </a:r>
          </a:p>
          <a:p>
            <a:pPr marL="285750" indent="-285750">
              <a:buFontTx/>
              <a:buChar char="-"/>
            </a:pPr>
            <a:r>
              <a:rPr lang="ru-RU" sz="1600" b="1" dirty="0">
                <a:solidFill>
                  <a:srgbClr val="236CB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КНС-3, ГНС-2 – 10 мес.</a:t>
            </a:r>
          </a:p>
          <a:p>
            <a:pPr marL="285750" indent="-285750">
              <a:buFontTx/>
              <a:buChar char="-"/>
            </a:pPr>
            <a:r>
              <a:rPr lang="ru-RU" sz="1600" b="1" dirty="0">
                <a:solidFill>
                  <a:srgbClr val="236CB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линейные сооружения – 7 мес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7201691-2CCD-4BD6-AE68-BBDCA468B6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7027" y="2993047"/>
            <a:ext cx="4958973" cy="3293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07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EE50815F-B181-4F79-8657-F29F74F32705}"/>
              </a:ext>
            </a:extLst>
          </p:cNvPr>
          <p:cNvCxnSpPr/>
          <p:nvPr/>
        </p:nvCxnSpPr>
        <p:spPr bwMode="auto">
          <a:xfrm>
            <a:off x="7634796" y="5042517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0" y="6354526"/>
            <a:ext cx="564020" cy="386773"/>
          </a:xfrm>
        </p:spPr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4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E60039D7-ED37-4630-81AE-D23018D3A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Технологическая схема</a:t>
            </a: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542F5158-3EC2-4AA4-8640-0D858A49E8DF}"/>
              </a:ext>
            </a:extLst>
          </p:cNvPr>
          <p:cNvCxnSpPr/>
          <p:nvPr/>
        </p:nvCxnSpPr>
        <p:spPr bwMode="auto">
          <a:xfrm>
            <a:off x="8887487" y="3755254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graphicFrame>
        <p:nvGraphicFramePr>
          <p:cNvPr id="26" name="Схема 25">
            <a:extLst>
              <a:ext uri="{FF2B5EF4-FFF2-40B4-BE49-F238E27FC236}">
                <a16:creationId xmlns:a16="http://schemas.microsoft.com/office/drawing/2014/main" id="{10F50B04-0208-4845-AD41-B76057714B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5908314"/>
              </p:ext>
            </p:extLst>
          </p:nvPr>
        </p:nvGraphicFramePr>
        <p:xfrm>
          <a:off x="525920" y="1141095"/>
          <a:ext cx="8865730" cy="4278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2973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5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DF48205F-E6E0-41E0-B330-245780E8E8FE}"/>
              </a:ext>
            </a:extLst>
          </p:cNvPr>
          <p:cNvSpPr txBox="1">
            <a:spLocks/>
          </p:cNvSpPr>
          <p:nvPr/>
        </p:nvSpPr>
        <p:spPr>
          <a:xfrm>
            <a:off x="385389" y="249698"/>
            <a:ext cx="9135221" cy="815398"/>
          </a:xfrm>
          <a:prstGeom prst="rect">
            <a:avLst/>
          </a:prstGeom>
        </p:spPr>
        <p:txBody>
          <a:bodyPr/>
          <a:lstStyle>
            <a:lvl1pPr algn="l" defTabSz="903441" rtl="0" eaLnBrk="0" fontAlgn="base" hangingPunct="0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3441" rtl="0" eaLnBrk="0" fontAlgn="base" hangingPunct="0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2pPr>
            <a:lvl3pPr algn="l" defTabSz="903441" rtl="0" eaLnBrk="0" fontAlgn="base" hangingPunct="0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3pPr>
            <a:lvl4pPr algn="l" defTabSz="903441" rtl="0" eaLnBrk="0" fontAlgn="base" hangingPunct="0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4pPr>
            <a:lvl5pPr algn="l" defTabSz="903441" rtl="0" eaLnBrk="0" fontAlgn="base" hangingPunct="0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5pPr>
            <a:lvl6pPr marL="411723" algn="l" defTabSz="906365" rtl="0" fontAlgn="base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6pPr>
            <a:lvl7pPr marL="823428" algn="l" defTabSz="906365" rtl="0" fontAlgn="base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7pPr>
            <a:lvl8pPr marL="1235134" algn="l" defTabSz="906365" rtl="0" fontAlgn="base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8pPr>
            <a:lvl9pPr marL="1646849" algn="l" defTabSz="906365" rtl="0" fontAlgn="base">
              <a:spcBef>
                <a:spcPct val="0"/>
              </a:spcBef>
              <a:spcAft>
                <a:spcPct val="0"/>
              </a:spcAft>
              <a:defRPr sz="2545" b="1">
                <a:solidFill>
                  <a:schemeClr val="tx2"/>
                </a:solidFill>
                <a:latin typeface="Arial" charset="0"/>
                <a:ea typeface="Batang" pitchFamily="18" charset="-127"/>
                <a:cs typeface="Arial" charset="0"/>
              </a:defRPr>
            </a:lvl9pPr>
          </a:lstStyle>
          <a:p>
            <a:r>
              <a:rPr lang="ru-RU" sz="2000" kern="0" dirty="0"/>
              <a:t>Зоны экологических ограничений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ACE5C32-A90D-4E8B-B007-3A237698CF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1248" t="15565" r="564" b="100"/>
          <a:stretch/>
        </p:blipFill>
        <p:spPr>
          <a:xfrm>
            <a:off x="5082822" y="1053071"/>
            <a:ext cx="4437788" cy="5231840"/>
          </a:xfrm>
          <a:prstGeom prst="rect">
            <a:avLst/>
          </a:prstGeom>
        </p:spPr>
      </p:pic>
      <p:graphicFrame>
        <p:nvGraphicFramePr>
          <p:cNvPr id="13" name="Схема 12">
            <a:extLst>
              <a:ext uri="{FF2B5EF4-FFF2-40B4-BE49-F238E27FC236}">
                <a16:creationId xmlns:a16="http://schemas.microsoft.com/office/drawing/2014/main" id="{B64B3566-4A64-450E-819E-9BEEFAD361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52334072"/>
              </p:ext>
            </p:extLst>
          </p:nvPr>
        </p:nvGraphicFramePr>
        <p:xfrm>
          <a:off x="268715" y="1438927"/>
          <a:ext cx="4814107" cy="46148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B4A411F-3977-417B-9C66-2759CE0D707D}"/>
              </a:ext>
            </a:extLst>
          </p:cNvPr>
          <p:cNvGrpSpPr/>
          <p:nvPr/>
        </p:nvGrpSpPr>
        <p:grpSpPr>
          <a:xfrm>
            <a:off x="282009" y="1153327"/>
            <a:ext cx="4670990" cy="272307"/>
            <a:chOff x="0" y="1525718"/>
            <a:chExt cx="4670990" cy="272307"/>
          </a:xfrm>
        </p:grpSpPr>
        <p:sp>
          <p:nvSpPr>
            <p:cNvPr id="9" name="Прямоугольник: скругленные углы 8">
              <a:extLst>
                <a:ext uri="{FF2B5EF4-FFF2-40B4-BE49-F238E27FC236}">
                  <a16:creationId xmlns:a16="http://schemas.microsoft.com/office/drawing/2014/main" id="{4999EE52-AFDF-4445-9E69-02A609BA7D99}"/>
                </a:ext>
              </a:extLst>
            </p:cNvPr>
            <p:cNvSpPr/>
            <p:nvPr/>
          </p:nvSpPr>
          <p:spPr>
            <a:xfrm>
              <a:off x="0" y="1525718"/>
              <a:ext cx="4670990" cy="272307"/>
            </a:xfrm>
            <a:prstGeom prst="roundRect">
              <a:avLst/>
            </a:prstGeom>
            <a:no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Прямоугольник: скругленные углы 4">
              <a:extLst>
                <a:ext uri="{FF2B5EF4-FFF2-40B4-BE49-F238E27FC236}">
                  <a16:creationId xmlns:a16="http://schemas.microsoft.com/office/drawing/2014/main" id="{79FE487B-B72C-4B31-8C9A-70D1A737D17A}"/>
                </a:ext>
              </a:extLst>
            </p:cNvPr>
            <p:cNvSpPr txBox="1"/>
            <p:nvPr/>
          </p:nvSpPr>
          <p:spPr>
            <a:xfrm>
              <a:off x="13293" y="1539011"/>
              <a:ext cx="4644404" cy="2457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l" defTabSz="4889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1200" b="1" kern="1200" dirty="0">
                  <a:solidFill>
                    <a:srgbClr val="E18E8B"/>
                  </a:solidFill>
                </a:rPr>
                <a:t>Инженерные изыскания - ООО «НПП «Изыскатель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572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6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0CACFE9A-0D8C-45A4-8514-6C2AC452B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Воздействие на атмосферный воздух</a:t>
            </a:r>
          </a:p>
        </p:txBody>
      </p: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4D015A1D-C1AB-4E23-9A60-7751A6CAF5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7713046"/>
              </p:ext>
            </p:extLst>
          </p:nvPr>
        </p:nvGraphicFramePr>
        <p:xfrm>
          <a:off x="161925" y="628994"/>
          <a:ext cx="4857750" cy="43513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4E7A08C4-A3FD-40A2-8D70-08ED404B57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0141134"/>
              </p:ext>
            </p:extLst>
          </p:nvPr>
        </p:nvGraphicFramePr>
        <p:xfrm>
          <a:off x="5019675" y="997669"/>
          <a:ext cx="4765730" cy="5357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D86F4F4-3954-4D90-9F5E-1F45559A534A}"/>
              </a:ext>
            </a:extLst>
          </p:cNvPr>
          <p:cNvSpPr/>
          <p:nvPr/>
        </p:nvSpPr>
        <p:spPr>
          <a:xfrm>
            <a:off x="9139237" y="874558"/>
            <a:ext cx="153352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00" b="1" i="1" dirty="0">
                <a:solidFill>
                  <a:srgbClr val="E18E8B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т/период</a:t>
            </a:r>
            <a:endParaRPr lang="ru-RU" sz="1000" i="1" dirty="0">
              <a:solidFill>
                <a:srgbClr val="E18E8B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8ECA571-6693-40F8-9FE6-203106334021}"/>
              </a:ext>
            </a:extLst>
          </p:cNvPr>
          <p:cNvSpPr/>
          <p:nvPr/>
        </p:nvSpPr>
        <p:spPr>
          <a:xfrm>
            <a:off x="282010" y="5441552"/>
            <a:ext cx="4953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>
                <a:solidFill>
                  <a:srgbClr val="D605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сточники выброса загрязняющих веществ </a:t>
            </a:r>
          </a:p>
          <a:p>
            <a:pPr lvl="0" algn="ctr"/>
            <a:r>
              <a:rPr lang="ru-RU" sz="1600" b="1" dirty="0">
                <a:solidFill>
                  <a:srgbClr val="D605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период эксплуатации</a:t>
            </a:r>
          </a:p>
          <a:p>
            <a:pPr lvl="0"/>
            <a:r>
              <a:rPr lang="ru-RU" sz="1400" b="1" dirty="0">
                <a:solidFill>
                  <a:srgbClr val="236CB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   Отсутствуют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BDE1CFF-4403-4E8A-B1F9-E2B3EC1DA5C1}"/>
              </a:ext>
            </a:extLst>
          </p:cNvPr>
          <p:cNvSpPr/>
          <p:nvPr/>
        </p:nvSpPr>
        <p:spPr>
          <a:xfrm>
            <a:off x="5948362" y="1151749"/>
            <a:ext cx="2824163" cy="381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dirty="0">
                <a:solidFill>
                  <a:srgbClr val="D605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7,193 т/период СМР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099695A-15D8-4F89-8E91-6846478705C0}"/>
              </a:ext>
            </a:extLst>
          </p:cNvPr>
          <p:cNvSpPr/>
          <p:nvPr/>
        </p:nvSpPr>
        <p:spPr>
          <a:xfrm>
            <a:off x="339048" y="4836734"/>
            <a:ext cx="47657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solidFill>
                  <a:srgbClr val="E18E8B"/>
                </a:solidFill>
              </a:rPr>
              <a:t>Максимальная приземная концентрация на границе СЗЗ - 0,96 ПДК по азота диоксиду </a:t>
            </a:r>
          </a:p>
        </p:txBody>
      </p:sp>
    </p:spTree>
    <p:extLst>
      <p:ext uri="{BB962C8B-B14F-4D97-AF65-F5344CB8AC3E}">
        <p14:creationId xmlns:p14="http://schemas.microsoft.com/office/powerpoint/2010/main" val="2127542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7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5B890E77-AB60-4043-AD1E-14486A1619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1793922"/>
              </p:ext>
            </p:extLst>
          </p:nvPr>
        </p:nvGraphicFramePr>
        <p:xfrm>
          <a:off x="255568" y="3664964"/>
          <a:ext cx="4567611" cy="24656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B44747EE-5C81-4A1F-ADD4-2E50AAAE0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Акустическое воздействие</a:t>
            </a:r>
          </a:p>
        </p:txBody>
      </p:sp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id="{7EBAB5E1-D775-4CB6-B85A-B593AA4FE5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6885790"/>
              </p:ext>
            </p:extLst>
          </p:nvPr>
        </p:nvGraphicFramePr>
        <p:xfrm>
          <a:off x="638452" y="955567"/>
          <a:ext cx="8629094" cy="4873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91877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EE50815F-B181-4F79-8657-F29F74F32705}"/>
              </a:ext>
            </a:extLst>
          </p:cNvPr>
          <p:cNvCxnSpPr/>
          <p:nvPr/>
        </p:nvCxnSpPr>
        <p:spPr bwMode="auto">
          <a:xfrm>
            <a:off x="7634796" y="5042517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id="{F08A50F8-306A-4A1C-A640-884ED6A33C45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187726881"/>
              </p:ext>
            </p:extLst>
          </p:nvPr>
        </p:nvGraphicFramePr>
        <p:xfrm>
          <a:off x="385389" y="2085957"/>
          <a:ext cx="4320000" cy="3870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000">
                  <a:extLst>
                    <a:ext uri="{9D8B030D-6E8A-4147-A177-3AD203B41FA5}">
                      <a16:colId xmlns:a16="http://schemas.microsoft.com/office/drawing/2014/main" val="3079505366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701323545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1538144374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58466769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Наименование показателя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446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КНС-3</a:t>
                      </a:r>
                    </a:p>
                    <a:p>
                      <a:pPr algn="ctr"/>
                      <a:r>
                        <a:rPr lang="ru-RU" sz="800" dirty="0"/>
                        <a:t>приемный резервуар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446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ГНС-2 из пруда-накопителя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446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Требования ООО «Сток»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4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9113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MT"/>
                        </a:rPr>
                        <a:t>рН, </a:t>
                      </a:r>
                      <a:r>
                        <a:rPr lang="ru-RU" sz="600" dirty="0"/>
                        <a:t>Ед. рН</a:t>
                      </a:r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9,7-11</a:t>
                      </a:r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11,1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не норм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576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MT"/>
                        </a:rPr>
                        <a:t>Взвешенные вещества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MT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69</a:t>
                      </a:r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75,8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84,8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596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MT"/>
                        </a:rPr>
                        <a:t>Нефть и нефтепродукты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0,3</a:t>
                      </a:r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0,2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0,3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169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MT"/>
                        </a:rPr>
                        <a:t>БПК полный, </a:t>
                      </a:r>
                      <a:r>
                        <a:rPr lang="ru-RU" sz="600" dirty="0">
                          <a:latin typeface="ArialMT"/>
                        </a:rPr>
                        <a:t>мгО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2</a:t>
                      </a:r>
                      <a:r>
                        <a:rPr lang="ru-RU" sz="600" dirty="0">
                          <a:latin typeface="ArialMT"/>
                        </a:rPr>
                        <a:t>/дм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3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3,04</a:t>
                      </a:r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2,8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3,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70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MT"/>
                        </a:rPr>
                        <a:t>Аммоний</a:t>
                      </a:r>
                      <a:r>
                        <a:rPr lang="ru-RU" sz="800" dirty="0">
                          <a:latin typeface="Arial" panose="020B0604020202020204" pitchFamily="34" charset="0"/>
                        </a:rPr>
                        <a:t>-</a:t>
                      </a:r>
                      <a:r>
                        <a:rPr lang="ru-RU" sz="800" dirty="0">
                          <a:latin typeface="ArialMT"/>
                        </a:rPr>
                        <a:t>ион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17,5</a:t>
                      </a:r>
                      <a:endParaRPr lang="ru-RU" sz="8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13,8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14,8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8769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MT"/>
                        </a:rPr>
                        <a:t>Железо общее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>
                          <a:latin typeface="Arial" panose="020B0604020202020204" pitchFamily="34" charset="0"/>
                        </a:rPr>
                        <a:t>0,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6612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лий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5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35,5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328,43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3134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рбамид (мочевина),</a:t>
                      </a:r>
                      <a:r>
                        <a:rPr lang="ru-RU" sz="800" dirty="0">
                          <a:latin typeface="ArialMT"/>
                        </a:rPr>
                        <a:t>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51,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79,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80,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4460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трий (</a:t>
                      </a:r>
                      <a:r>
                        <a:rPr lang="en-US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 +)</a:t>
                      </a: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800" dirty="0">
                          <a:latin typeface="ArialMT"/>
                        </a:rPr>
                        <a:t>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2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728,46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4994,21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9805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икель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0,0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0,0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/>
                        <a:t>0,03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6676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итраты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2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33,9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264,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0699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итриты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,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,5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,59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4463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ульфаты (сульфат-ион)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4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951,0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964,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6492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ухой остаток общий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64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0654,8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37073,939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511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лориды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29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409,4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11487,12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E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080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ПК, </a:t>
                      </a:r>
                      <a:r>
                        <a:rPr lang="ru-RU" sz="600" dirty="0">
                          <a:latin typeface="ArialMT"/>
                        </a:rPr>
                        <a:t>мг/дм</a:t>
                      </a:r>
                      <a:r>
                        <a:rPr lang="ru-RU" sz="600" baseline="30000" dirty="0">
                          <a:latin typeface="ArialMT"/>
                        </a:rPr>
                        <a:t>3</a:t>
                      </a:r>
                      <a:r>
                        <a:rPr lang="ru-RU" sz="600" dirty="0">
                          <a:latin typeface="Arial" panose="020B0604020202020204" pitchFamily="34" charset="0"/>
                        </a:rPr>
                        <a:t> </a:t>
                      </a:r>
                      <a:endParaRPr lang="ru-RU" sz="6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30,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29,0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800" dirty="0"/>
                        <a:t>30,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9528009"/>
                  </a:ext>
                </a:extLst>
              </a:tr>
            </a:tbl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8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542F5158-3EC2-4AA4-8640-0D858A49E8DF}"/>
              </a:ext>
            </a:extLst>
          </p:cNvPr>
          <p:cNvCxnSpPr/>
          <p:nvPr/>
        </p:nvCxnSpPr>
        <p:spPr bwMode="auto">
          <a:xfrm>
            <a:off x="8887487" y="3755254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1DE0873-B920-444E-A945-C553DA94EA75}"/>
              </a:ext>
            </a:extLst>
          </p:cNvPr>
          <p:cNvSpPr/>
          <p:nvPr/>
        </p:nvSpPr>
        <p:spPr>
          <a:xfrm>
            <a:off x="333576" y="1848771"/>
            <a:ext cx="189507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>
                <a:solidFill>
                  <a:srgbClr val="14446C"/>
                </a:solidFill>
              </a:rPr>
              <a:t>Качественный состав стоков</a:t>
            </a:r>
          </a:p>
        </p:txBody>
      </p:sp>
      <p:sp>
        <p:nvSpPr>
          <p:cNvPr id="13" name="Заголовок 2">
            <a:extLst>
              <a:ext uri="{FF2B5EF4-FFF2-40B4-BE49-F238E27FC236}">
                <a16:creationId xmlns:a16="http://schemas.microsoft.com/office/drawing/2014/main" id="{848DE68E-B6CC-4FEC-9E47-5BBB7A5BF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Воздействие на водные объекты</a:t>
            </a:r>
          </a:p>
        </p:txBody>
      </p:sp>
      <p:graphicFrame>
        <p:nvGraphicFramePr>
          <p:cNvPr id="14" name="Схема 13">
            <a:extLst>
              <a:ext uri="{FF2B5EF4-FFF2-40B4-BE49-F238E27FC236}">
                <a16:creationId xmlns:a16="http://schemas.microsoft.com/office/drawing/2014/main" id="{8B742A26-8102-4554-A51B-817C7FB644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11135711"/>
              </p:ext>
            </p:extLst>
          </p:nvPr>
        </p:nvGraphicFramePr>
        <p:xfrm>
          <a:off x="4953000" y="1971882"/>
          <a:ext cx="4619424" cy="91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8" name="Схема 17">
            <a:extLst>
              <a:ext uri="{FF2B5EF4-FFF2-40B4-BE49-F238E27FC236}">
                <a16:creationId xmlns:a16="http://schemas.microsoft.com/office/drawing/2014/main" id="{21BD5A96-5CF3-4B0D-83ED-433472F507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96587152"/>
              </p:ext>
            </p:extLst>
          </p:nvPr>
        </p:nvGraphicFramePr>
        <p:xfrm>
          <a:off x="4953000" y="3194604"/>
          <a:ext cx="4619424" cy="12447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9" name="Схема 18">
            <a:extLst>
              <a:ext uri="{FF2B5EF4-FFF2-40B4-BE49-F238E27FC236}">
                <a16:creationId xmlns:a16="http://schemas.microsoft.com/office/drawing/2014/main" id="{F5FEAA38-F531-4CF3-ABA5-2348A8EB1D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18886478"/>
              </p:ext>
            </p:extLst>
          </p:nvPr>
        </p:nvGraphicFramePr>
        <p:xfrm>
          <a:off x="4953000" y="4914666"/>
          <a:ext cx="4619424" cy="10322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38D4607-0E83-4A8B-8724-E3274AE0F503}"/>
              </a:ext>
            </a:extLst>
          </p:cNvPr>
          <p:cNvSpPr/>
          <p:nvPr/>
        </p:nvSpPr>
        <p:spPr>
          <a:xfrm>
            <a:off x="4848887" y="1454020"/>
            <a:ext cx="4953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14446C"/>
                </a:solidFill>
              </a:rPr>
              <a:t>Хозяйственно-бытовая канализация внутри здания главной насосной станции №2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41CC1040-692B-4625-A494-70F44785A702}"/>
              </a:ext>
            </a:extLst>
          </p:cNvPr>
          <p:cNvSpPr/>
          <p:nvPr/>
        </p:nvSpPr>
        <p:spPr>
          <a:xfrm>
            <a:off x="4952999" y="3030694"/>
            <a:ext cx="37734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E18E8B"/>
                </a:solidFill>
              </a:rPr>
              <a:t>Дождевая канализация площадки ГНС-2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78F094AA-88EF-4BD0-A6E8-3A1CAB232450}"/>
              </a:ext>
            </a:extLst>
          </p:cNvPr>
          <p:cNvSpPr/>
          <p:nvPr/>
        </p:nvSpPr>
        <p:spPr>
          <a:xfrm>
            <a:off x="4953000" y="4545334"/>
            <a:ext cx="447353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F09230"/>
                </a:solidFill>
              </a:rPr>
              <a:t>Дождевая канализация подъездной автодорог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4AA94519-064B-408F-B883-F3C851D24A30}"/>
              </a:ext>
            </a:extLst>
          </p:cNvPr>
          <p:cNvSpPr/>
          <p:nvPr/>
        </p:nvSpPr>
        <p:spPr>
          <a:xfrm>
            <a:off x="771794" y="1390860"/>
            <a:ext cx="35471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b="1" dirty="0">
                <a:solidFill>
                  <a:srgbClr val="14446C"/>
                </a:solidFill>
              </a:rPr>
              <a:t>Пруд-накопитель </a:t>
            </a:r>
            <a:r>
              <a:rPr lang="en-US" b="1" dirty="0">
                <a:solidFill>
                  <a:srgbClr val="14446C"/>
                </a:solidFill>
              </a:rPr>
              <a:t>V= 65000 </a:t>
            </a:r>
            <a:r>
              <a:rPr lang="ru-RU" b="1" dirty="0">
                <a:solidFill>
                  <a:srgbClr val="14446C"/>
                </a:solidFill>
              </a:rPr>
              <a:t>м</a:t>
            </a:r>
            <a:r>
              <a:rPr lang="en-US" b="1" baseline="30000" dirty="0">
                <a:solidFill>
                  <a:srgbClr val="14446C"/>
                </a:solidFill>
              </a:rPr>
              <a:t>3</a:t>
            </a:r>
            <a:endParaRPr lang="ru-RU" b="1" baseline="30000" dirty="0">
              <a:solidFill>
                <a:srgbClr val="144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96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883"/>
    </mc:Choice>
    <mc:Fallback xmlns="">
      <p:transition spd="slow" advTm="883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2A40D6F-6C76-4D70-9F5A-3974DECBE05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10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615" r="35193" b="15286"/>
          <a:stretch/>
        </p:blipFill>
        <p:spPr>
          <a:xfrm>
            <a:off x="4933950" y="1719871"/>
            <a:ext cx="4972050" cy="4540256"/>
          </a:xfrm>
          <a:prstGeom prst="rect">
            <a:avLst/>
          </a:prstGeom>
          <a:noFill/>
        </p:spPr>
      </p:pic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EE50815F-B181-4F79-8657-F29F74F32705}"/>
              </a:ext>
            </a:extLst>
          </p:cNvPr>
          <p:cNvCxnSpPr/>
          <p:nvPr/>
        </p:nvCxnSpPr>
        <p:spPr bwMode="auto">
          <a:xfrm>
            <a:off x="7634796" y="5042517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0" y="6354526"/>
            <a:ext cx="564020" cy="386773"/>
          </a:xfrm>
        </p:spPr>
        <p:txBody>
          <a:bodyPr/>
          <a:lstStyle/>
          <a:p>
            <a:pPr algn="ctr" defTabSz="831281" fontAlgn="base">
              <a:spcAft>
                <a:spcPct val="0"/>
              </a:spcAft>
              <a:defRPr/>
            </a:pPr>
            <a:fld id="{A6B06EC4-1553-4EEC-8AFC-5F4512671736}" type="slidenum">
              <a:rPr lang="ru-RU" smtClean="0">
                <a:solidFill>
                  <a:srgbClr val="FFFFFF"/>
                </a:solidFill>
              </a:rPr>
              <a:pPr algn="ctr" defTabSz="831281" fontAlgn="base">
                <a:spcAft>
                  <a:spcPct val="0"/>
                </a:spcAft>
                <a:defRPr/>
              </a:pPr>
              <a:t>9</a:t>
            </a:fld>
            <a:endParaRPr lang="en-GB" altLang="zh-TW" dirty="0">
              <a:solidFill>
                <a:srgbClr val="FFFFFF"/>
              </a:solidFill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E60039D7-ED37-4630-81AE-D23018D3A2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389" y="249698"/>
            <a:ext cx="9135221" cy="815398"/>
          </a:xfrm>
        </p:spPr>
        <p:txBody>
          <a:bodyPr/>
          <a:lstStyle/>
          <a:p>
            <a:r>
              <a:rPr lang="ru-RU" sz="2000" dirty="0"/>
              <a:t>Воздействие на земельные ресурсы</a:t>
            </a:r>
          </a:p>
        </p:txBody>
      </p:sp>
      <p:graphicFrame>
        <p:nvGraphicFramePr>
          <p:cNvPr id="20" name="Схема 19">
            <a:extLst>
              <a:ext uri="{FF2B5EF4-FFF2-40B4-BE49-F238E27FC236}">
                <a16:creationId xmlns:a16="http://schemas.microsoft.com/office/drawing/2014/main" id="{917AA525-5189-4513-B91F-BFBFD8AD3EC9}"/>
              </a:ext>
            </a:extLst>
          </p:cNvPr>
          <p:cNvGraphicFramePr/>
          <p:nvPr/>
        </p:nvGraphicFramePr>
        <p:xfrm>
          <a:off x="5835650" y="1878919"/>
          <a:ext cx="2941222" cy="38933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31C84054-B8D3-4CD4-8637-087F31D0DE69}"/>
              </a:ext>
            </a:extLst>
          </p:cNvPr>
          <p:cNvSpPr/>
          <p:nvPr/>
        </p:nvSpPr>
        <p:spPr>
          <a:xfrm>
            <a:off x="6743642" y="4105275"/>
            <a:ext cx="219075" cy="40011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14446C"/>
                </a:solidFill>
              </a:rPr>
              <a:t>1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7A6A1A39-C942-4FA5-97E1-BF5C1E82A6D8}"/>
              </a:ext>
            </a:extLst>
          </p:cNvPr>
          <p:cNvSpPr/>
          <p:nvPr/>
        </p:nvSpPr>
        <p:spPr>
          <a:xfrm>
            <a:off x="8887487" y="3456239"/>
            <a:ext cx="3273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14446C"/>
                </a:solidFill>
              </a:rPr>
              <a:t>2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A30A1D4B-403D-4577-B79D-25BFC76237E0}"/>
              </a:ext>
            </a:extLst>
          </p:cNvPr>
          <p:cNvSpPr/>
          <p:nvPr/>
        </p:nvSpPr>
        <p:spPr bwMode="auto">
          <a:xfrm>
            <a:off x="8416339" y="3307579"/>
            <a:ext cx="1282852" cy="904875"/>
          </a:xfrm>
          <a:prstGeom prst="rect">
            <a:avLst/>
          </a:prstGeom>
          <a:noFill/>
          <a:ln w="38100" cap="flat" cmpd="sng" algn="ctr">
            <a:solidFill>
              <a:srgbClr val="14446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300" b="1" i="0" u="none" strike="noStrike" cap="none" normalizeH="0" baseline="0">
              <a:ln>
                <a:noFill/>
              </a:ln>
              <a:solidFill>
                <a:srgbClr val="14446C"/>
              </a:solidFill>
              <a:effectLst/>
              <a:latin typeface="Arial" charset="0"/>
              <a:ea typeface="Batang" pitchFamily="18" charset="-127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F743A41-1006-42DB-A447-636DDF32AF3E}"/>
              </a:ext>
            </a:extLst>
          </p:cNvPr>
          <p:cNvSpPr/>
          <p:nvPr/>
        </p:nvSpPr>
        <p:spPr bwMode="auto">
          <a:xfrm>
            <a:off x="6230532" y="3870804"/>
            <a:ext cx="1282852" cy="904875"/>
          </a:xfrm>
          <a:prstGeom prst="rect">
            <a:avLst/>
          </a:prstGeom>
          <a:noFill/>
          <a:ln w="38100" cap="flat" cmpd="sng" algn="ctr">
            <a:solidFill>
              <a:srgbClr val="14446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300" b="1" i="0" u="none" strike="noStrike" cap="none" normalizeH="0" baseline="0">
              <a:ln>
                <a:noFill/>
              </a:ln>
              <a:solidFill>
                <a:srgbClr val="164463"/>
              </a:solidFill>
              <a:effectLst/>
              <a:latin typeface="Arial" charset="0"/>
              <a:ea typeface="Batang" pitchFamily="18" charset="-127"/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542F5158-3EC2-4AA4-8640-0D858A49E8DF}"/>
              </a:ext>
            </a:extLst>
          </p:cNvPr>
          <p:cNvCxnSpPr/>
          <p:nvPr/>
        </p:nvCxnSpPr>
        <p:spPr bwMode="auto">
          <a:xfrm>
            <a:off x="8887487" y="3755254"/>
            <a:ext cx="914400" cy="914400"/>
          </a:xfrm>
          <a:prstGeom prst="line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rgbClr val="969696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DCD43F5D-606C-490F-AB3D-1AD3B9040794}"/>
              </a:ext>
            </a:extLst>
          </p:cNvPr>
          <p:cNvCxnSpPr>
            <a:cxnSpLocks/>
          </p:cNvCxnSpPr>
          <p:nvPr/>
        </p:nvCxnSpPr>
        <p:spPr bwMode="auto">
          <a:xfrm flipV="1">
            <a:off x="7726695" y="3803650"/>
            <a:ext cx="1220455" cy="1039185"/>
          </a:xfrm>
          <a:prstGeom prst="line">
            <a:avLst/>
          </a:prstGeom>
          <a:ln w="38100">
            <a:solidFill>
              <a:srgbClr val="144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BF75B374-BDF0-4D60-9302-903E8D3E842A}"/>
              </a:ext>
            </a:extLst>
          </p:cNvPr>
          <p:cNvCxnSpPr>
            <a:cxnSpLocks/>
          </p:cNvCxnSpPr>
          <p:nvPr/>
        </p:nvCxnSpPr>
        <p:spPr bwMode="auto">
          <a:xfrm>
            <a:off x="7156450" y="4235450"/>
            <a:ext cx="570245" cy="607384"/>
          </a:xfrm>
          <a:prstGeom prst="line">
            <a:avLst/>
          </a:prstGeom>
          <a:ln w="38100">
            <a:solidFill>
              <a:srgbClr val="144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69C182A-1C3B-4241-81B6-67BA732C6B77}"/>
              </a:ext>
            </a:extLst>
          </p:cNvPr>
          <p:cNvSpPr/>
          <p:nvPr/>
        </p:nvSpPr>
        <p:spPr>
          <a:xfrm>
            <a:off x="262227" y="1067852"/>
            <a:ext cx="91352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236CB0"/>
                </a:solidFill>
              </a:rPr>
              <a:t>Категория земель: земли населенных пунктов</a:t>
            </a:r>
          </a:p>
          <a:p>
            <a:pPr algn="r"/>
            <a:r>
              <a:rPr lang="ru-RU" sz="1200" dirty="0">
                <a:solidFill>
                  <a:srgbClr val="E18E8B"/>
                </a:solidFill>
                <a:latin typeface="ArialMT"/>
              </a:rPr>
              <a:t>Кадастровый номер земельного участка </a:t>
            </a:r>
            <a:r>
              <a:rPr lang="ru-RU" sz="1200" dirty="0">
                <a:solidFill>
                  <a:srgbClr val="E18E8B"/>
                </a:solidFill>
                <a:latin typeface="Arial" panose="020B0604020202020204" pitchFamily="34" charset="0"/>
              </a:rPr>
              <a:t>59:03:0000000:52</a:t>
            </a:r>
            <a:endParaRPr lang="ru-RU" sz="1200" dirty="0">
              <a:solidFill>
                <a:srgbClr val="E18E8B"/>
              </a:solidFill>
            </a:endParaRPr>
          </a:p>
        </p:txBody>
      </p:sp>
      <p:graphicFrame>
        <p:nvGraphicFramePr>
          <p:cNvPr id="18" name="Таблица 5">
            <a:extLst>
              <a:ext uri="{FF2B5EF4-FFF2-40B4-BE49-F238E27FC236}">
                <a16:creationId xmlns:a16="http://schemas.microsoft.com/office/drawing/2014/main" id="{1505C08C-47C7-465A-9DA6-333670BF7617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378924851"/>
              </p:ext>
            </p:extLst>
          </p:nvPr>
        </p:nvGraphicFramePr>
        <p:xfrm>
          <a:off x="329837" y="1719871"/>
          <a:ext cx="4500000" cy="2042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0000">
                  <a:extLst>
                    <a:ext uri="{9D8B030D-6E8A-4147-A177-3AD203B41FA5}">
                      <a16:colId xmlns:a16="http://schemas.microsoft.com/office/drawing/2014/main" val="3079505366"/>
                    </a:ext>
                  </a:extLst>
                </a:gridCol>
                <a:gridCol w="1125000">
                  <a:extLst>
                    <a:ext uri="{9D8B030D-6E8A-4147-A177-3AD203B41FA5}">
                      <a16:colId xmlns:a16="http://schemas.microsoft.com/office/drawing/2014/main" val="701323545"/>
                    </a:ext>
                  </a:extLst>
                </a:gridCol>
                <a:gridCol w="1125000">
                  <a:extLst>
                    <a:ext uri="{9D8B030D-6E8A-4147-A177-3AD203B41FA5}">
                      <a16:colId xmlns:a16="http://schemas.microsoft.com/office/drawing/2014/main" val="153814437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Наименование показателя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446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Участок 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446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Участок 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44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9113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лощадь участка в границах благоустройства, м</a:t>
                      </a:r>
                      <a:r>
                        <a:rPr lang="ru-RU" sz="1000" b="0" i="0" u="none" strike="noStrike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baseline="300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764,6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738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57695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лощадь застройки в границах благоустройства (в т.ч.</a:t>
                      </a:r>
                    </a:p>
                    <a:p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идротехнические сооружения), м</a:t>
                      </a:r>
                      <a:r>
                        <a:rPr lang="ru-RU" sz="1000" b="0" i="0" u="none" strike="noStrike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1208,6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11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596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лощадь твердых покрытий, м</a:t>
                      </a:r>
                      <a:r>
                        <a:rPr lang="ru-RU" sz="1000" b="0" i="0" u="none" strike="noStrike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278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43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169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крепление канавы объемной </a:t>
                      </a:r>
                      <a:r>
                        <a:rPr lang="ru-RU" sz="10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еорешеткой</a:t>
                      </a: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м</a:t>
                      </a:r>
                      <a:r>
                        <a:rPr lang="ru-RU" sz="1000" b="0" i="0" u="none" strike="noStrike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81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70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лощадь озеленения, м</a:t>
                      </a:r>
                      <a:r>
                        <a:rPr lang="ru-RU" sz="1000" b="0" i="0" u="none" strike="noStrike" kern="1200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dirty="0"/>
                    </a:p>
                  </a:txBody>
                  <a:tcPr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97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2342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19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444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8E8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876913"/>
                  </a:ext>
                </a:extLst>
              </a:tr>
            </a:tbl>
          </a:graphicData>
        </a:graphic>
      </p:graphicFrame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1263552E-525E-4277-94D9-D17D5227558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60251317"/>
              </p:ext>
            </p:extLst>
          </p:nvPr>
        </p:nvGraphicFramePr>
        <p:xfrm>
          <a:off x="217638" y="3467942"/>
          <a:ext cx="4619446" cy="2652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47411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/>
    </mc:Choice>
    <mc:Fallback xmlns=""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  <p:tag name="TOP" val="118"/>
  <p:tag name="LEFT" val="410.5"/>
  <p:tag name="WIDTH" val="329.625"/>
  <p:tag name="HEIGHT" val="2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  <p:tag name="TOP" val="118"/>
  <p:tag name="LEFT" val="410.5"/>
  <p:tag name="WIDTH" val="329.625"/>
  <p:tag name="HEIGHT" val="2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heme/theme1.xml><?xml version="1.0" encoding="utf-8"?>
<a:theme xmlns:a="http://schemas.openxmlformats.org/drawingml/2006/main" name="1_Тема Office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ection_Divider">
  <a:themeElements>
    <a:clrScheme name="Section_Divider 2">
      <a:dk1>
        <a:srgbClr val="000000"/>
      </a:dk1>
      <a:lt1>
        <a:srgbClr val="FFFFFF"/>
      </a:lt1>
      <a:dk2>
        <a:srgbClr val="14446C"/>
      </a:dk2>
      <a:lt2>
        <a:srgbClr val="E2E5EA"/>
      </a:lt2>
      <a:accent1>
        <a:srgbClr val="236CB0"/>
      </a:accent1>
      <a:accent2>
        <a:srgbClr val="CCDDED"/>
      </a:accent2>
      <a:accent3>
        <a:srgbClr val="FFFFFF"/>
      </a:accent3>
      <a:accent4>
        <a:srgbClr val="000000"/>
      </a:accent4>
      <a:accent5>
        <a:srgbClr val="ACBAD4"/>
      </a:accent5>
      <a:accent6>
        <a:srgbClr val="B9C8D7"/>
      </a:accent6>
      <a:hlink>
        <a:srgbClr val="979797"/>
      </a:hlink>
      <a:folHlink>
        <a:srgbClr val="F09230"/>
      </a:folHlink>
    </a:clrScheme>
    <a:fontScheme name="Section_Divider">
      <a:majorFont>
        <a:latin typeface="Arial"/>
        <a:ea typeface="Batang"/>
        <a:cs typeface="Arial"/>
      </a:majorFont>
      <a:minorFont>
        <a:latin typeface="Arial"/>
        <a:ea typeface="Batang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chemeClr val="accent1">
                    <a:gamma/>
                    <a:shade val="60000"/>
                    <a:invGamma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300" b="1" i="0" u="none" strike="noStrike" cap="none" normalizeH="0" baseline="0" smtClean="0">
            <a:ln>
              <a:noFill/>
            </a:ln>
            <a:solidFill>
              <a:srgbClr val="164463"/>
            </a:solidFill>
            <a:effectLst/>
            <a:latin typeface="Arial" charset="0"/>
            <a:ea typeface="Batang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chemeClr val="accent1">
                    <a:gamma/>
                    <a:shade val="60000"/>
                    <a:invGamma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300" b="1" i="0" u="none" strike="noStrike" cap="none" normalizeH="0" baseline="0" smtClean="0">
            <a:ln>
              <a:noFill/>
            </a:ln>
            <a:solidFill>
              <a:srgbClr val="164463"/>
            </a:solidFill>
            <a:effectLst/>
            <a:latin typeface="Arial" charset="0"/>
            <a:ea typeface="Batang" pitchFamily="18" charset="-127"/>
          </a:defRPr>
        </a:defPPr>
      </a:lstStyle>
    </a:lnDef>
  </a:objectDefaults>
  <a:extraClrSchemeLst>
    <a:extraClrScheme>
      <a:clrScheme name="Section_Divider 1">
        <a:dk1>
          <a:srgbClr val="181842"/>
        </a:dk1>
        <a:lt1>
          <a:srgbClr val="FFFFFF"/>
        </a:lt1>
        <a:dk2>
          <a:srgbClr val="587281"/>
        </a:dk2>
        <a:lt2>
          <a:srgbClr val="6D6D6D"/>
        </a:lt2>
        <a:accent1>
          <a:srgbClr val="365886"/>
        </a:accent1>
        <a:accent2>
          <a:srgbClr val="6E4064"/>
        </a:accent2>
        <a:accent3>
          <a:srgbClr val="FFFFFF"/>
        </a:accent3>
        <a:accent4>
          <a:srgbClr val="131337"/>
        </a:accent4>
        <a:accent5>
          <a:srgbClr val="AEB4C3"/>
        </a:accent5>
        <a:accent6>
          <a:srgbClr val="63395A"/>
        </a:accent6>
        <a:hlink>
          <a:srgbClr val="A2958F"/>
        </a:hlink>
        <a:folHlink>
          <a:srgbClr val="4B6C7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ction_Divider 2">
        <a:dk1>
          <a:srgbClr val="000000"/>
        </a:dk1>
        <a:lt1>
          <a:srgbClr val="FFFFFF"/>
        </a:lt1>
        <a:dk2>
          <a:srgbClr val="14446C"/>
        </a:dk2>
        <a:lt2>
          <a:srgbClr val="E2E5EA"/>
        </a:lt2>
        <a:accent1>
          <a:srgbClr val="236CB0"/>
        </a:accent1>
        <a:accent2>
          <a:srgbClr val="CCDDED"/>
        </a:accent2>
        <a:accent3>
          <a:srgbClr val="FFFFFF"/>
        </a:accent3>
        <a:accent4>
          <a:srgbClr val="000000"/>
        </a:accent4>
        <a:accent5>
          <a:srgbClr val="ACBAD4"/>
        </a:accent5>
        <a:accent6>
          <a:srgbClr val="B9C8D7"/>
        </a:accent6>
        <a:hlink>
          <a:srgbClr val="979797"/>
        </a:hlink>
        <a:folHlink>
          <a:srgbClr val="F09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035</TotalTime>
  <Words>1506</Words>
  <Application>Microsoft Office PowerPoint</Application>
  <PresentationFormat>Лист A4 (210x297 мм)</PresentationFormat>
  <Paragraphs>330</Paragraphs>
  <Slides>13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3" baseType="lpstr">
      <vt:lpstr>Arial</vt:lpstr>
      <vt:lpstr>ArialMT</vt:lpstr>
      <vt:lpstr>Calibri</vt:lpstr>
      <vt:lpstr>Calibri Light</vt:lpstr>
      <vt:lpstr>Symbol</vt:lpstr>
      <vt:lpstr>Tahoma</vt:lpstr>
      <vt:lpstr>Wingdings</vt:lpstr>
      <vt:lpstr>1_Тема Office</vt:lpstr>
      <vt:lpstr>Section_Divider</vt:lpstr>
      <vt:lpstr>think-cell Slide</vt:lpstr>
      <vt:lpstr>Презентация PowerPoint</vt:lpstr>
      <vt:lpstr>Организация общественного обсуждения</vt:lpstr>
      <vt:lpstr>Цель намечаемой хозяйственной деятельности</vt:lpstr>
      <vt:lpstr>Технологическая схема</vt:lpstr>
      <vt:lpstr>Презентация PowerPoint</vt:lpstr>
      <vt:lpstr>Воздействие на атмосферный воздух</vt:lpstr>
      <vt:lpstr>Акустическое воздействие</vt:lpstr>
      <vt:lpstr>Воздействие на водные объекты</vt:lpstr>
      <vt:lpstr>Воздействие на земельные ресурсы</vt:lpstr>
      <vt:lpstr>Воздействие при обращении с отходами</vt:lpstr>
      <vt:lpstr>Мероприятия по охране окружающей среды</vt:lpstr>
      <vt:lpstr>Заключение</vt:lpstr>
      <vt:lpstr>Просим Вас  поддержать реализацию проекта!  Строительство трубопроводов транспортировки стоков системы водоотведения Филиала «Азот»  АО «ОХК «УРАЛХИМ» от ГНС до существующих выпусков станции перекачки промышленных стоков</vt:lpstr>
    </vt:vector>
  </TitlesOfParts>
  <Company>ООО "Кайрос Инжиниринг"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О ХОДЕ РЕАЛИЗАЦИИ ПРОЕКТА ЗА СЕНТЯБРЬ 2018 ГОД</dc:title>
  <dc:creator>Катаева Екатерина Геннадьевна</dc:creator>
  <cp:lastModifiedBy>Пользователь</cp:lastModifiedBy>
  <cp:revision>586</cp:revision>
  <cp:lastPrinted>2021-12-16T11:56:44Z</cp:lastPrinted>
  <dcterms:created xsi:type="dcterms:W3CDTF">2018-11-20T14:58:58Z</dcterms:created>
  <dcterms:modified xsi:type="dcterms:W3CDTF">2023-07-17T03:04:56Z</dcterms:modified>
</cp:coreProperties>
</file>